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  <p:sldMasterId id="2147483673" r:id="rId6"/>
  </p:sldMasterIdLst>
  <p:notesMasterIdLst>
    <p:notesMasterId r:id="rId17"/>
  </p:notesMasterIdLst>
  <p:handoutMasterIdLst>
    <p:handoutMasterId r:id="rId18"/>
  </p:handoutMasterIdLst>
  <p:sldIdLst>
    <p:sldId id="375" r:id="rId7"/>
    <p:sldId id="644" r:id="rId8"/>
    <p:sldId id="675" r:id="rId9"/>
    <p:sldId id="708" r:id="rId10"/>
    <p:sldId id="723" r:id="rId11"/>
    <p:sldId id="722" r:id="rId12"/>
    <p:sldId id="730" r:id="rId13"/>
    <p:sldId id="728" r:id="rId14"/>
    <p:sldId id="729" r:id="rId15"/>
    <p:sldId id="376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FEF8F4"/>
    <a:srgbClr val="FDF3ED"/>
    <a:srgbClr val="FFE48F"/>
    <a:srgbClr val="FFDB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811" autoAdjust="0"/>
    <p:restoredTop sz="94660"/>
  </p:normalViewPr>
  <p:slideViewPr>
    <p:cSldViewPr snapToGrid="0">
      <p:cViewPr varScale="1">
        <p:scale>
          <a:sx n="66" d="100"/>
          <a:sy n="66" d="100"/>
        </p:scale>
        <p:origin x="948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5814"/>
    </p:cViewPr>
  </p:sorterViewPr>
  <p:notesViewPr>
    <p:cSldViewPr snapToGrid="0" showGuides="1">
      <p:cViewPr varScale="1">
        <p:scale>
          <a:sx n="53" d="100"/>
          <a:sy n="53" d="100"/>
        </p:scale>
        <p:origin x="-2802" y="-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4BCAE8-39F1-46F5-981E-68BEB10173D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8CFDD2-2EDE-4EDC-85E8-ACE2C662A5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200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034A5B-66FE-4E1E-8DC0-1A8F27080344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A0D9C0-28B3-4E01-99A8-71CA93871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69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A0D9C0-28B3-4E01-99A8-71CA938711C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529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A0D9C0-28B3-4E01-99A8-71CA938711C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529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5E08CB-1114-4878-AF28-D4B136BD47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D2CB3E-0D68-4391-9512-2833E1D4E2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522212-7B93-4A52-BE07-ED7CA968E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8AA473-FF87-4150-A6D6-4E3D3A797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2F759E-AD58-4FF6-84F7-452A60800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1523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62BF5-583A-486C-9717-74E5A957F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A8F390-AC3F-4C17-9755-BDB960564F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8E5103-C3DF-4033-89E8-4DACA6DA6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3F71D4-AE8C-4E0A-8EE5-D995D531C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E7C977-76D5-4F0D-97C5-E2960075F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7498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1A37F8-EE41-4DF6-803B-C3B2B0E9639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27A12AC-C49E-4C66-83AC-959B1B4553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D23012-2FA0-485B-ACD4-DD0703982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186E89-E07E-4EC4-9878-C4B32DD062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EF32BB-3908-4D0F-B3D2-C3C8DB4390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4969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rgbClr val="FFCD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11C3D9D-1E30-B247-924A-5D3958D76D0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algn="ctr">
              <a:defRPr sz="1800" b="0" i="0">
                <a:latin typeface="MTN Brighter Sans Light" pitchFamily="2" charset="77"/>
              </a:defRPr>
            </a:lvl1pPr>
          </a:lstStyle>
          <a:p>
            <a:r>
              <a:rPr lang="en-GB" dirty="0"/>
              <a:t>Click icon to insert picture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A0FA39F-18D8-864E-917E-720171EC85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469" y="5422900"/>
            <a:ext cx="1720850" cy="11557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defRPr sz="2500" b="1" i="1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84468DDF-0310-C543-A5DA-C8469AC3A4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55" y="4120006"/>
            <a:ext cx="5505450" cy="3847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defRPr sz="2500" b="0" i="1">
                <a:latin typeface="MTN Brighter Sans" pitchFamily="2" charset="77"/>
              </a:defRPr>
            </a:lvl1pPr>
          </a:lstStyle>
          <a:p>
            <a:pPr lvl="0"/>
            <a:r>
              <a:rPr lang="en-GB" dirty="0"/>
              <a:t>00 Month 0000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CA0287EC-C168-324F-9920-E03E7EDD82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0549" y="1093100"/>
            <a:ext cx="5299263" cy="2503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defRPr sz="9500" b="1" i="0">
                <a:latin typeface="MTN Brighter Sans ExtraBold" pitchFamily="2" charset="77"/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381416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Slide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3">
            <a:extLst>
              <a:ext uri="{FF2B5EF4-FFF2-40B4-BE49-F238E27FC236}">
                <a16:creationId xmlns:a16="http://schemas.microsoft.com/office/drawing/2014/main" id="{7C48CA1B-C677-E64E-9E41-2DFE8B9F8DAE}"/>
              </a:ext>
            </a:extLst>
          </p:cNvPr>
          <p:cNvSpPr/>
          <p:nvPr userDrawn="1"/>
        </p:nvSpPr>
        <p:spPr>
          <a:xfrm>
            <a:off x="-3" y="6273800"/>
            <a:ext cx="12192005" cy="584200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148" tIns="45148" rIns="45148" bIns="45148" anchor="ctr"/>
          <a:lstStyle/>
          <a:p>
            <a:pPr algn="ctr" defTabSz="902990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 sz="1185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F1FE5F78-6385-5C49-88B6-09EE46A8BA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20396" y="6484496"/>
            <a:ext cx="5503353" cy="1706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90000"/>
              </a:lnSpc>
              <a:defRPr sz="1185" b="1" i="0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Click to add presentation titl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5AFFA046-C8FB-1244-8C6F-B2B7EA438A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6" y="0"/>
            <a:ext cx="11017250" cy="62738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90000"/>
              </a:lnSpc>
              <a:defRPr sz="2371" b="1" i="1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Click to add copy</a:t>
            </a:r>
          </a:p>
        </p:txBody>
      </p:sp>
      <p:sp>
        <p:nvSpPr>
          <p:cNvPr id="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04625" y="6484496"/>
            <a:ext cx="588054" cy="1706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>
              <a:lnSpc>
                <a:spcPct val="90000"/>
              </a:lnSpc>
              <a:defRPr sz="1185" b="1" i="0">
                <a:latin typeface="MTN Brighter Sans Bold" pitchFamily="2" charset="77"/>
                <a:ea typeface="MTN Brighter Sans Bold" pitchFamily="2" charset="77"/>
                <a:cs typeface="MTN Brighter Sans Bold" pitchFamily="2" charset="77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5D71CE85-F6AB-864E-9E6A-D608F3697D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273800"/>
            <a:ext cx="869880" cy="5842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defRPr sz="2469" b="1" i="1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80959630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A61B7669-CC4E-451E-8900-7A9904CF68E3}"/>
              </a:ext>
            </a:extLst>
          </p:cNvPr>
          <p:cNvGrpSpPr/>
          <p:nvPr userDrawn="1"/>
        </p:nvGrpSpPr>
        <p:grpSpPr>
          <a:xfrm>
            <a:off x="1" y="677021"/>
            <a:ext cx="11798299" cy="5784424"/>
            <a:chOff x="1" y="677021"/>
            <a:chExt cx="11798299" cy="5784424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323983CF-FDA1-4F96-B689-7C72CBAFB2F3}"/>
                </a:ext>
              </a:extLst>
            </p:cNvPr>
            <p:cNvSpPr/>
            <p:nvPr userDrawn="1"/>
          </p:nvSpPr>
          <p:spPr>
            <a:xfrm>
              <a:off x="1" y="677021"/>
              <a:ext cx="6668655" cy="5490104"/>
            </a:xfrm>
            <a:custGeom>
              <a:avLst/>
              <a:gdLst>
                <a:gd name="connsiteX0" fmla="*/ 0 w 6668655"/>
                <a:gd name="connsiteY0" fmla="*/ 0 h 5490104"/>
                <a:gd name="connsiteX1" fmla="*/ 560043 w 6668655"/>
                <a:gd name="connsiteY1" fmla="*/ 11421 h 5490104"/>
                <a:gd name="connsiteX2" fmla="*/ 6668655 w 6668655"/>
                <a:gd name="connsiteY2" fmla="*/ 2745052 h 5490104"/>
                <a:gd name="connsiteX3" fmla="*/ 560043 w 6668655"/>
                <a:gd name="connsiteY3" fmla="*/ 5478684 h 5490104"/>
                <a:gd name="connsiteX4" fmla="*/ 0 w 6668655"/>
                <a:gd name="connsiteY4" fmla="*/ 5490104 h 54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8655" h="5490104">
                  <a:moveTo>
                    <a:pt x="0" y="0"/>
                  </a:moveTo>
                  <a:lnTo>
                    <a:pt x="560043" y="11421"/>
                  </a:lnTo>
                  <a:cubicBezTo>
                    <a:pt x="3991160" y="152137"/>
                    <a:pt x="6668655" y="1322323"/>
                    <a:pt x="6668655" y="2745052"/>
                  </a:cubicBezTo>
                  <a:cubicBezTo>
                    <a:pt x="6668655" y="4167782"/>
                    <a:pt x="3991160" y="5337968"/>
                    <a:pt x="560043" y="5478684"/>
                  </a:cubicBezTo>
                  <a:lnTo>
                    <a:pt x="0" y="54901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458C232-E694-463F-8F55-9E47AF2086BD}"/>
                </a:ext>
              </a:extLst>
            </p:cNvPr>
            <p:cNvGrpSpPr/>
            <p:nvPr userDrawn="1"/>
          </p:nvGrpSpPr>
          <p:grpSpPr>
            <a:xfrm>
              <a:off x="7813964" y="5310073"/>
              <a:ext cx="3984336" cy="1151372"/>
              <a:chOff x="7813964" y="5310073"/>
              <a:chExt cx="3984336" cy="1151372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46B1331-3816-4438-A3DF-9370EC860654}"/>
                  </a:ext>
                </a:extLst>
              </p:cNvPr>
              <p:cNvGrpSpPr/>
              <p:nvPr userDrawn="1"/>
            </p:nvGrpSpPr>
            <p:grpSpPr>
              <a:xfrm>
                <a:off x="7813964" y="5788335"/>
                <a:ext cx="2358245" cy="226732"/>
                <a:chOff x="19621500" y="3297238"/>
                <a:chExt cx="3170238" cy="304801"/>
              </a:xfrm>
            </p:grpSpPr>
            <p:sp>
              <p:nvSpPr>
                <p:cNvPr id="11" name="Freeform 5">
                  <a:extLst>
                    <a:ext uri="{FF2B5EF4-FFF2-40B4-BE49-F238E27FC236}">
                      <a16:creationId xmlns:a16="http://schemas.microsoft.com/office/drawing/2014/main" id="{12627673-0075-476B-86EC-8865903F816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962150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" name="Freeform 6">
                  <a:extLst>
                    <a:ext uri="{FF2B5EF4-FFF2-40B4-BE49-F238E27FC236}">
                      <a16:creationId xmlns:a16="http://schemas.microsoft.com/office/drawing/2014/main" id="{C1DB577C-FF4C-4DF6-A147-DFACE950E52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9829463" y="3370263"/>
                  <a:ext cx="190500" cy="161925"/>
                </a:xfrm>
                <a:custGeom>
                  <a:avLst/>
                  <a:gdLst>
                    <a:gd name="T0" fmla="*/ 120 w 120"/>
                    <a:gd name="T1" fmla="*/ 0 h 102"/>
                    <a:gd name="T2" fmla="*/ 62 w 120"/>
                    <a:gd name="T3" fmla="*/ 102 h 102"/>
                    <a:gd name="T4" fmla="*/ 29 w 120"/>
                    <a:gd name="T5" fmla="*/ 102 h 102"/>
                    <a:gd name="T6" fmla="*/ 0 w 120"/>
                    <a:gd name="T7" fmla="*/ 0 h 102"/>
                    <a:gd name="T8" fmla="*/ 35 w 120"/>
                    <a:gd name="T9" fmla="*/ 0 h 102"/>
                    <a:gd name="T10" fmla="*/ 52 w 120"/>
                    <a:gd name="T11" fmla="*/ 67 h 102"/>
                    <a:gd name="T12" fmla="*/ 87 w 120"/>
                    <a:gd name="T13" fmla="*/ 0 h 102"/>
                    <a:gd name="T14" fmla="*/ 120 w 120"/>
                    <a:gd name="T1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0" h="102">
                      <a:moveTo>
                        <a:pt x="120" y="0"/>
                      </a:moveTo>
                      <a:lnTo>
                        <a:pt x="62" y="102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2" y="67"/>
                      </a:lnTo>
                      <a:lnTo>
                        <a:pt x="87" y="0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" name="Freeform 7">
                  <a:extLst>
                    <a:ext uri="{FF2B5EF4-FFF2-40B4-BE49-F238E27FC236}">
                      <a16:creationId xmlns:a16="http://schemas.microsoft.com/office/drawing/2014/main" id="{DFEDC490-86B7-438E-B82A-02B37D3D583A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0013613" y="3363913"/>
                  <a:ext cx="188913" cy="176213"/>
                </a:xfrm>
                <a:custGeom>
                  <a:avLst/>
                  <a:gdLst>
                    <a:gd name="T0" fmla="*/ 106 w 114"/>
                    <a:gd name="T1" fmla="*/ 88 h 106"/>
                    <a:gd name="T2" fmla="*/ 54 w 114"/>
                    <a:gd name="T3" fmla="*/ 106 h 106"/>
                    <a:gd name="T4" fmla="*/ 4 w 114"/>
                    <a:gd name="T5" fmla="*/ 55 h 106"/>
                    <a:gd name="T6" fmla="*/ 69 w 114"/>
                    <a:gd name="T7" fmla="*/ 0 h 106"/>
                    <a:gd name="T8" fmla="*/ 111 w 114"/>
                    <a:gd name="T9" fmla="*/ 44 h 106"/>
                    <a:gd name="T10" fmla="*/ 105 w 114"/>
                    <a:gd name="T11" fmla="*/ 61 h 106"/>
                    <a:gd name="T12" fmla="*/ 35 w 114"/>
                    <a:gd name="T13" fmla="*/ 61 h 106"/>
                    <a:gd name="T14" fmla="*/ 64 w 114"/>
                    <a:gd name="T15" fmla="*/ 81 h 106"/>
                    <a:gd name="T16" fmla="*/ 97 w 114"/>
                    <a:gd name="T17" fmla="*/ 72 h 106"/>
                    <a:gd name="T18" fmla="*/ 106 w 114"/>
                    <a:gd name="T19" fmla="*/ 88 h 106"/>
                    <a:gd name="T20" fmla="*/ 38 w 114"/>
                    <a:gd name="T21" fmla="*/ 40 h 106"/>
                    <a:gd name="T22" fmla="*/ 83 w 114"/>
                    <a:gd name="T23" fmla="*/ 40 h 106"/>
                    <a:gd name="T24" fmla="*/ 66 w 114"/>
                    <a:gd name="T25" fmla="*/ 22 h 106"/>
                    <a:gd name="T26" fmla="*/ 38 w 114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4" y="18"/>
                        <a:pt x="111" y="44"/>
                      </a:cubicBezTo>
                      <a:cubicBezTo>
                        <a:pt x="110" y="51"/>
                        <a:pt x="107" y="57"/>
                        <a:pt x="105" y="61"/>
                      </a:cubicBezTo>
                      <a:cubicBezTo>
                        <a:pt x="35" y="61"/>
                        <a:pt x="35" y="61"/>
                        <a:pt x="35" y="61"/>
                      </a:cubicBezTo>
                      <a:cubicBezTo>
                        <a:pt x="37" y="74"/>
                        <a:pt x="47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3" y="40"/>
                        <a:pt x="83" y="40"/>
                        <a:pt x="83" y="40"/>
                      </a:cubicBezTo>
                      <a:cubicBezTo>
                        <a:pt x="84" y="29"/>
                        <a:pt x="77" y="22"/>
                        <a:pt x="66" y="22"/>
                      </a:cubicBezTo>
                      <a:cubicBezTo>
                        <a:pt x="55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" name="Freeform 8">
                  <a:extLst>
                    <a:ext uri="{FF2B5EF4-FFF2-40B4-BE49-F238E27FC236}">
                      <a16:creationId xmlns:a16="http://schemas.microsoft.com/office/drawing/2014/main" id="{5253ED09-4E82-46AB-B3FD-A54C787D999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219988" y="3365501"/>
                  <a:ext cx="146050" cy="166688"/>
                </a:xfrm>
                <a:custGeom>
                  <a:avLst/>
                  <a:gdLst>
                    <a:gd name="T0" fmla="*/ 89 w 89"/>
                    <a:gd name="T1" fmla="*/ 2 h 100"/>
                    <a:gd name="T2" fmla="*/ 84 w 89"/>
                    <a:gd name="T3" fmla="*/ 32 h 100"/>
                    <a:gd name="T4" fmla="*/ 70 w 89"/>
                    <a:gd name="T5" fmla="*/ 30 h 100"/>
                    <a:gd name="T6" fmla="*/ 40 w 89"/>
                    <a:gd name="T7" fmla="*/ 46 h 100"/>
                    <a:gd name="T8" fmla="*/ 32 w 89"/>
                    <a:gd name="T9" fmla="*/ 100 h 100"/>
                    <a:gd name="T10" fmla="*/ 0 w 89"/>
                    <a:gd name="T11" fmla="*/ 100 h 100"/>
                    <a:gd name="T12" fmla="*/ 14 w 89"/>
                    <a:gd name="T13" fmla="*/ 6 h 100"/>
                    <a:gd name="T14" fmla="*/ 45 w 89"/>
                    <a:gd name="T15" fmla="*/ 0 h 100"/>
                    <a:gd name="T16" fmla="*/ 42 w 89"/>
                    <a:gd name="T17" fmla="*/ 22 h 100"/>
                    <a:gd name="T18" fmla="*/ 77 w 89"/>
                    <a:gd name="T19" fmla="*/ 0 h 100"/>
                    <a:gd name="T20" fmla="*/ 89 w 89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9" h="100">
                      <a:moveTo>
                        <a:pt x="89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5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9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" name="Freeform 9">
                  <a:extLst>
                    <a:ext uri="{FF2B5EF4-FFF2-40B4-BE49-F238E27FC236}">
                      <a16:creationId xmlns:a16="http://schemas.microsoft.com/office/drawing/2014/main" id="{18C64485-22BF-41FC-8D6A-513C23D8971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369213" y="3370263"/>
                  <a:ext cx="187325" cy="228600"/>
                </a:xfrm>
                <a:custGeom>
                  <a:avLst/>
                  <a:gdLst>
                    <a:gd name="T0" fmla="*/ 118 w 118"/>
                    <a:gd name="T1" fmla="*/ 0 h 144"/>
                    <a:gd name="T2" fmla="*/ 38 w 118"/>
                    <a:gd name="T3" fmla="*/ 144 h 144"/>
                    <a:gd name="T4" fmla="*/ 5 w 118"/>
                    <a:gd name="T5" fmla="*/ 144 h 144"/>
                    <a:gd name="T6" fmla="*/ 31 w 118"/>
                    <a:gd name="T7" fmla="*/ 102 h 144"/>
                    <a:gd name="T8" fmla="*/ 0 w 118"/>
                    <a:gd name="T9" fmla="*/ 0 h 144"/>
                    <a:gd name="T10" fmla="*/ 37 w 118"/>
                    <a:gd name="T11" fmla="*/ 0 h 144"/>
                    <a:gd name="T12" fmla="*/ 53 w 118"/>
                    <a:gd name="T13" fmla="*/ 64 h 144"/>
                    <a:gd name="T14" fmla="*/ 86 w 118"/>
                    <a:gd name="T15" fmla="*/ 0 h 144"/>
                    <a:gd name="T16" fmla="*/ 118 w 118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8" h="144">
                      <a:moveTo>
                        <a:pt x="118" y="0"/>
                      </a:moveTo>
                      <a:lnTo>
                        <a:pt x="38" y="144"/>
                      </a:lnTo>
                      <a:lnTo>
                        <a:pt x="5" y="144"/>
                      </a:lnTo>
                      <a:lnTo>
                        <a:pt x="31" y="102"/>
                      </a:lnTo>
                      <a:lnTo>
                        <a:pt x="0" y="0"/>
                      </a:lnTo>
                      <a:lnTo>
                        <a:pt x="37" y="0"/>
                      </a:lnTo>
                      <a:lnTo>
                        <a:pt x="53" y="64"/>
                      </a:lnTo>
                      <a:lnTo>
                        <a:pt x="86" y="0"/>
                      </a:lnTo>
                      <a:lnTo>
                        <a:pt x="11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" name="Freeform 10">
                  <a:extLst>
                    <a:ext uri="{FF2B5EF4-FFF2-40B4-BE49-F238E27FC236}">
                      <a16:creationId xmlns:a16="http://schemas.microsoft.com/office/drawing/2014/main" id="{252F9309-81F0-4ABD-A4F7-8BDD4CA2A5C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561300" y="3370263"/>
                  <a:ext cx="266700" cy="161925"/>
                </a:xfrm>
                <a:custGeom>
                  <a:avLst/>
                  <a:gdLst>
                    <a:gd name="T0" fmla="*/ 168 w 168"/>
                    <a:gd name="T1" fmla="*/ 0 h 102"/>
                    <a:gd name="T2" fmla="*/ 119 w 168"/>
                    <a:gd name="T3" fmla="*/ 102 h 102"/>
                    <a:gd name="T4" fmla="*/ 88 w 168"/>
                    <a:gd name="T5" fmla="*/ 102 h 102"/>
                    <a:gd name="T6" fmla="*/ 76 w 168"/>
                    <a:gd name="T7" fmla="*/ 45 h 102"/>
                    <a:gd name="T8" fmla="*/ 52 w 168"/>
                    <a:gd name="T9" fmla="*/ 102 h 102"/>
                    <a:gd name="T10" fmla="*/ 20 w 168"/>
                    <a:gd name="T11" fmla="*/ 102 h 102"/>
                    <a:gd name="T12" fmla="*/ 0 w 168"/>
                    <a:gd name="T13" fmla="*/ 0 h 102"/>
                    <a:gd name="T14" fmla="*/ 34 w 168"/>
                    <a:gd name="T15" fmla="*/ 0 h 102"/>
                    <a:gd name="T16" fmla="*/ 43 w 168"/>
                    <a:gd name="T17" fmla="*/ 67 h 102"/>
                    <a:gd name="T18" fmla="*/ 70 w 168"/>
                    <a:gd name="T19" fmla="*/ 0 h 102"/>
                    <a:gd name="T20" fmla="*/ 100 w 168"/>
                    <a:gd name="T21" fmla="*/ 0 h 102"/>
                    <a:gd name="T22" fmla="*/ 111 w 168"/>
                    <a:gd name="T23" fmla="*/ 67 h 102"/>
                    <a:gd name="T24" fmla="*/ 137 w 168"/>
                    <a:gd name="T25" fmla="*/ 0 h 102"/>
                    <a:gd name="T26" fmla="*/ 168 w 168"/>
                    <a:gd name="T2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102">
                      <a:moveTo>
                        <a:pt x="168" y="0"/>
                      </a:moveTo>
                      <a:lnTo>
                        <a:pt x="119" y="102"/>
                      </a:lnTo>
                      <a:lnTo>
                        <a:pt x="88" y="102"/>
                      </a:lnTo>
                      <a:lnTo>
                        <a:pt x="76" y="45"/>
                      </a:lnTo>
                      <a:lnTo>
                        <a:pt x="52" y="102"/>
                      </a:lnTo>
                      <a:lnTo>
                        <a:pt x="20" y="102"/>
                      </a:ln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43" y="67"/>
                      </a:lnTo>
                      <a:lnTo>
                        <a:pt x="70" y="0"/>
                      </a:lnTo>
                      <a:lnTo>
                        <a:pt x="100" y="0"/>
                      </a:lnTo>
                      <a:lnTo>
                        <a:pt x="111" y="67"/>
                      </a:lnTo>
                      <a:lnTo>
                        <a:pt x="137" y="0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" name="Freeform 11">
                  <a:extLst>
                    <a:ext uri="{FF2B5EF4-FFF2-40B4-BE49-F238E27FC236}">
                      <a16:creationId xmlns:a16="http://schemas.microsoft.com/office/drawing/2014/main" id="{C6FF1F42-D924-4799-997B-FA313E77CCF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831175" y="3297238"/>
                  <a:ext cx="192088" cy="234950"/>
                </a:xfrm>
                <a:custGeom>
                  <a:avLst/>
                  <a:gdLst>
                    <a:gd name="T0" fmla="*/ 112 w 116"/>
                    <a:gd name="T1" fmla="*/ 84 h 142"/>
                    <a:gd name="T2" fmla="*/ 103 w 116"/>
                    <a:gd name="T3" fmla="*/ 142 h 142"/>
                    <a:gd name="T4" fmla="*/ 71 w 116"/>
                    <a:gd name="T5" fmla="*/ 142 h 142"/>
                    <a:gd name="T6" fmla="*/ 78 w 116"/>
                    <a:gd name="T7" fmla="*/ 94 h 142"/>
                    <a:gd name="T8" fmla="*/ 64 w 116"/>
                    <a:gd name="T9" fmla="*/ 69 h 142"/>
                    <a:gd name="T10" fmla="*/ 41 w 116"/>
                    <a:gd name="T11" fmla="*/ 81 h 142"/>
                    <a:gd name="T12" fmla="*/ 32 w 116"/>
                    <a:gd name="T13" fmla="*/ 142 h 142"/>
                    <a:gd name="T14" fmla="*/ 0 w 116"/>
                    <a:gd name="T15" fmla="*/ 142 h 142"/>
                    <a:gd name="T16" fmla="*/ 19 w 116"/>
                    <a:gd name="T17" fmla="*/ 6 h 142"/>
                    <a:gd name="T18" fmla="*/ 52 w 116"/>
                    <a:gd name="T19" fmla="*/ 0 h 142"/>
                    <a:gd name="T20" fmla="*/ 44 w 116"/>
                    <a:gd name="T21" fmla="*/ 57 h 142"/>
                    <a:gd name="T22" fmla="*/ 81 w 116"/>
                    <a:gd name="T23" fmla="*/ 42 h 142"/>
                    <a:gd name="T24" fmla="*/ 112 w 116"/>
                    <a:gd name="T25" fmla="*/ 84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6" h="142">
                      <a:moveTo>
                        <a:pt x="112" y="84"/>
                      </a:moveTo>
                      <a:cubicBezTo>
                        <a:pt x="103" y="142"/>
                        <a:pt x="103" y="142"/>
                        <a:pt x="103" y="142"/>
                      </a:cubicBezTo>
                      <a:cubicBezTo>
                        <a:pt x="71" y="142"/>
                        <a:pt x="71" y="142"/>
                        <a:pt x="71" y="142"/>
                      </a:cubicBezTo>
                      <a:cubicBezTo>
                        <a:pt x="78" y="94"/>
                        <a:pt x="78" y="94"/>
                        <a:pt x="78" y="94"/>
                      </a:cubicBezTo>
                      <a:cubicBezTo>
                        <a:pt x="80" y="78"/>
                        <a:pt x="76" y="69"/>
                        <a:pt x="64" y="69"/>
                      </a:cubicBezTo>
                      <a:cubicBezTo>
                        <a:pt x="56" y="69"/>
                        <a:pt x="47" y="74"/>
                        <a:pt x="41" y="81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54" y="47"/>
                        <a:pt x="68" y="42"/>
                        <a:pt x="81" y="42"/>
                      </a:cubicBezTo>
                      <a:cubicBezTo>
                        <a:pt x="101" y="42"/>
                        <a:pt x="116" y="56"/>
                        <a:pt x="112" y="8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" name="Freeform 12">
                  <a:extLst>
                    <a:ext uri="{FF2B5EF4-FFF2-40B4-BE49-F238E27FC236}">
                      <a16:creationId xmlns:a16="http://schemas.microsoft.com/office/drawing/2014/main" id="{F60181F6-C5E9-455B-B472-FF56A800B9BE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03755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5 w 115"/>
                    <a:gd name="T3" fmla="*/ 106 h 106"/>
                    <a:gd name="T4" fmla="*/ 5 w 115"/>
                    <a:gd name="T5" fmla="*/ 55 h 106"/>
                    <a:gd name="T6" fmla="*/ 70 w 115"/>
                    <a:gd name="T7" fmla="*/ 0 h 106"/>
                    <a:gd name="T8" fmla="*/ 111 w 115"/>
                    <a:gd name="T9" fmla="*/ 44 h 106"/>
                    <a:gd name="T10" fmla="*/ 106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8 w 115"/>
                    <a:gd name="T17" fmla="*/ 72 h 106"/>
                    <a:gd name="T18" fmla="*/ 106 w 115"/>
                    <a:gd name="T19" fmla="*/ 88 h 106"/>
                    <a:gd name="T20" fmla="*/ 39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9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4" y="97"/>
                        <a:pt x="76" y="106"/>
                        <a:pt x="55" y="106"/>
                      </a:cubicBezTo>
                      <a:cubicBezTo>
                        <a:pt x="21" y="106"/>
                        <a:pt x="0" y="86"/>
                        <a:pt x="5" y="55"/>
                      </a:cubicBez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6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8" y="77"/>
                        <a:pt x="98" y="72"/>
                      </a:cubicBezTo>
                      <a:lnTo>
                        <a:pt x="106" y="88"/>
                      </a:lnTo>
                      <a:close/>
                      <a:moveTo>
                        <a:pt x="39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9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" name="Freeform 13">
                  <a:extLst>
                    <a:ext uri="{FF2B5EF4-FFF2-40B4-BE49-F238E27FC236}">
                      <a16:creationId xmlns:a16="http://schemas.microsoft.com/office/drawing/2014/main" id="{40B763BD-44F4-4A84-82F8-1EBB3F2CBE4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245513" y="3365501"/>
                  <a:ext cx="144463" cy="166688"/>
                </a:xfrm>
                <a:custGeom>
                  <a:avLst/>
                  <a:gdLst>
                    <a:gd name="T0" fmla="*/ 88 w 88"/>
                    <a:gd name="T1" fmla="*/ 2 h 100"/>
                    <a:gd name="T2" fmla="*/ 84 w 88"/>
                    <a:gd name="T3" fmla="*/ 32 h 100"/>
                    <a:gd name="T4" fmla="*/ 70 w 88"/>
                    <a:gd name="T5" fmla="*/ 30 h 100"/>
                    <a:gd name="T6" fmla="*/ 40 w 88"/>
                    <a:gd name="T7" fmla="*/ 46 h 100"/>
                    <a:gd name="T8" fmla="*/ 32 w 88"/>
                    <a:gd name="T9" fmla="*/ 100 h 100"/>
                    <a:gd name="T10" fmla="*/ 0 w 88"/>
                    <a:gd name="T11" fmla="*/ 100 h 100"/>
                    <a:gd name="T12" fmla="*/ 13 w 88"/>
                    <a:gd name="T13" fmla="*/ 6 h 100"/>
                    <a:gd name="T14" fmla="*/ 45 w 88"/>
                    <a:gd name="T15" fmla="*/ 0 h 100"/>
                    <a:gd name="T16" fmla="*/ 42 w 88"/>
                    <a:gd name="T17" fmla="*/ 22 h 100"/>
                    <a:gd name="T18" fmla="*/ 77 w 88"/>
                    <a:gd name="T19" fmla="*/ 0 h 100"/>
                    <a:gd name="T20" fmla="*/ 88 w 88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" h="100">
                      <a:moveTo>
                        <a:pt x="88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4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8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" name="Freeform 14">
                  <a:extLst>
                    <a:ext uri="{FF2B5EF4-FFF2-40B4-BE49-F238E27FC236}">
                      <a16:creationId xmlns:a16="http://schemas.microsoft.com/office/drawing/2014/main" id="{4AB8A9B7-6CCB-4199-A78C-CC029B83387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389975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4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" name="Freeform 15">
                  <a:extLst>
                    <a:ext uri="{FF2B5EF4-FFF2-40B4-BE49-F238E27FC236}">
                      <a16:creationId xmlns:a16="http://schemas.microsoft.com/office/drawing/2014/main" id="{43784E0C-3B1C-4CB7-B8D6-ADA386525A8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678900" y="3370263"/>
                  <a:ext cx="184150" cy="228600"/>
                </a:xfrm>
                <a:custGeom>
                  <a:avLst/>
                  <a:gdLst>
                    <a:gd name="T0" fmla="*/ 116 w 116"/>
                    <a:gd name="T1" fmla="*/ 0 h 144"/>
                    <a:gd name="T2" fmla="*/ 36 w 116"/>
                    <a:gd name="T3" fmla="*/ 144 h 144"/>
                    <a:gd name="T4" fmla="*/ 4 w 116"/>
                    <a:gd name="T5" fmla="*/ 144 h 144"/>
                    <a:gd name="T6" fmla="*/ 29 w 116"/>
                    <a:gd name="T7" fmla="*/ 102 h 144"/>
                    <a:gd name="T8" fmla="*/ 0 w 116"/>
                    <a:gd name="T9" fmla="*/ 0 h 144"/>
                    <a:gd name="T10" fmla="*/ 35 w 116"/>
                    <a:gd name="T11" fmla="*/ 0 h 144"/>
                    <a:gd name="T12" fmla="*/ 51 w 116"/>
                    <a:gd name="T13" fmla="*/ 64 h 144"/>
                    <a:gd name="T14" fmla="*/ 84 w 116"/>
                    <a:gd name="T15" fmla="*/ 0 h 144"/>
                    <a:gd name="T16" fmla="*/ 116 w 116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144">
                      <a:moveTo>
                        <a:pt x="116" y="0"/>
                      </a:moveTo>
                      <a:lnTo>
                        <a:pt x="36" y="144"/>
                      </a:lnTo>
                      <a:lnTo>
                        <a:pt x="4" y="144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1" y="64"/>
                      </a:lnTo>
                      <a:lnTo>
                        <a:pt x="84" y="0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" name="Freeform 16">
                  <a:extLst>
                    <a:ext uri="{FF2B5EF4-FFF2-40B4-BE49-F238E27FC236}">
                      <a16:creationId xmlns:a16="http://schemas.microsoft.com/office/drawing/2014/main" id="{2CD15C22-CC9A-4AC1-80A0-6A1D39F2988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85828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2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9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4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" name="Freeform 17">
                  <a:extLst>
                    <a:ext uri="{FF2B5EF4-FFF2-40B4-BE49-F238E27FC236}">
                      <a16:creationId xmlns:a16="http://schemas.microsoft.com/office/drawing/2014/main" id="{6A6099C2-3B4B-4D4E-AC74-5606A60DAD8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2078950" y="3365501"/>
                  <a:ext cx="190500" cy="171450"/>
                </a:xfrm>
                <a:custGeom>
                  <a:avLst/>
                  <a:gdLst>
                    <a:gd name="T0" fmla="*/ 115 w 115"/>
                    <a:gd name="T1" fmla="*/ 0 h 103"/>
                    <a:gd name="T2" fmla="*/ 101 w 115"/>
                    <a:gd name="T3" fmla="*/ 100 h 103"/>
                    <a:gd name="T4" fmla="*/ 70 w 115"/>
                    <a:gd name="T5" fmla="*/ 100 h 103"/>
                    <a:gd name="T6" fmla="*/ 72 w 115"/>
                    <a:gd name="T7" fmla="*/ 88 h 103"/>
                    <a:gd name="T8" fmla="*/ 35 w 115"/>
                    <a:gd name="T9" fmla="*/ 103 h 103"/>
                    <a:gd name="T10" fmla="*/ 4 w 115"/>
                    <a:gd name="T11" fmla="*/ 61 h 103"/>
                    <a:gd name="T12" fmla="*/ 12 w 115"/>
                    <a:gd name="T13" fmla="*/ 6 h 103"/>
                    <a:gd name="T14" fmla="*/ 45 w 115"/>
                    <a:gd name="T15" fmla="*/ 0 h 103"/>
                    <a:gd name="T16" fmla="*/ 38 w 115"/>
                    <a:gd name="T17" fmla="*/ 51 h 103"/>
                    <a:gd name="T18" fmla="*/ 51 w 115"/>
                    <a:gd name="T19" fmla="*/ 77 h 103"/>
                    <a:gd name="T20" fmla="*/ 74 w 115"/>
                    <a:gd name="T21" fmla="*/ 66 h 103"/>
                    <a:gd name="T22" fmla="*/ 82 w 115"/>
                    <a:gd name="T23" fmla="*/ 6 h 103"/>
                    <a:gd name="T24" fmla="*/ 115 w 115"/>
                    <a:gd name="T25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" h="103">
                      <a:moveTo>
                        <a:pt x="115" y="0"/>
                      </a:moveTo>
                      <a:cubicBezTo>
                        <a:pt x="101" y="100"/>
                        <a:pt x="101" y="100"/>
                        <a:pt x="101" y="100"/>
                      </a:cubicBezTo>
                      <a:cubicBezTo>
                        <a:pt x="70" y="100"/>
                        <a:pt x="70" y="100"/>
                        <a:pt x="70" y="100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62" y="98"/>
                        <a:pt x="48" y="103"/>
                        <a:pt x="35" y="103"/>
                      </a:cubicBezTo>
                      <a:cubicBezTo>
                        <a:pt x="14" y="103"/>
                        <a:pt x="0" y="89"/>
                        <a:pt x="4" y="61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38" y="51"/>
                        <a:pt x="38" y="51"/>
                        <a:pt x="38" y="51"/>
                      </a:cubicBezTo>
                      <a:cubicBezTo>
                        <a:pt x="35" y="68"/>
                        <a:pt x="40" y="77"/>
                        <a:pt x="51" y="77"/>
                      </a:cubicBezTo>
                      <a:cubicBezTo>
                        <a:pt x="59" y="77"/>
                        <a:pt x="67" y="73"/>
                        <a:pt x="74" y="66"/>
                      </a:cubicBezTo>
                      <a:cubicBezTo>
                        <a:pt x="82" y="6"/>
                        <a:pt x="82" y="6"/>
                        <a:pt x="82" y="6"/>
                      </a:cubicBezTo>
                      <a:lnTo>
                        <a:pt x="115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" name="Freeform 18">
                  <a:extLst>
                    <a:ext uri="{FF2B5EF4-FFF2-40B4-BE49-F238E27FC236}">
                      <a16:creationId xmlns:a16="http://schemas.microsoft.com/office/drawing/2014/main" id="{365EE61A-C7F5-4BF6-8A74-88CBC74CBE55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353588" y="3365501"/>
                  <a:ext cx="233363" cy="236538"/>
                </a:xfrm>
                <a:custGeom>
                  <a:avLst/>
                  <a:gdLst>
                    <a:gd name="T0" fmla="*/ 138 w 141"/>
                    <a:gd name="T1" fmla="*/ 30 h 143"/>
                    <a:gd name="T2" fmla="*/ 114 w 141"/>
                    <a:gd name="T3" fmla="*/ 29 h 143"/>
                    <a:gd name="T4" fmla="*/ 117 w 141"/>
                    <a:gd name="T5" fmla="*/ 47 h 143"/>
                    <a:gd name="T6" fmla="*/ 59 w 141"/>
                    <a:gd name="T7" fmla="*/ 88 h 143"/>
                    <a:gd name="T8" fmla="*/ 54 w 141"/>
                    <a:gd name="T9" fmla="*/ 88 h 143"/>
                    <a:gd name="T10" fmla="*/ 35 w 141"/>
                    <a:gd name="T11" fmla="*/ 113 h 143"/>
                    <a:gd name="T12" fmla="*/ 84 w 141"/>
                    <a:gd name="T13" fmla="*/ 98 h 143"/>
                    <a:gd name="T14" fmla="*/ 118 w 141"/>
                    <a:gd name="T15" fmla="*/ 139 h 143"/>
                    <a:gd name="T16" fmla="*/ 84 w 141"/>
                    <a:gd name="T17" fmla="*/ 143 h 143"/>
                    <a:gd name="T18" fmla="*/ 66 w 141"/>
                    <a:gd name="T19" fmla="*/ 125 h 143"/>
                    <a:gd name="T20" fmla="*/ 18 w 141"/>
                    <a:gd name="T21" fmla="*/ 139 h 143"/>
                    <a:gd name="T22" fmla="*/ 0 w 141"/>
                    <a:gd name="T23" fmla="*/ 127 h 143"/>
                    <a:gd name="T24" fmla="*/ 27 w 141"/>
                    <a:gd name="T25" fmla="*/ 79 h 143"/>
                    <a:gd name="T26" fmla="*/ 11 w 141"/>
                    <a:gd name="T27" fmla="*/ 45 h 143"/>
                    <a:gd name="T28" fmla="*/ 71 w 141"/>
                    <a:gd name="T29" fmla="*/ 0 h 143"/>
                    <a:gd name="T30" fmla="*/ 91 w 141"/>
                    <a:gd name="T31" fmla="*/ 3 h 143"/>
                    <a:gd name="T32" fmla="*/ 141 w 141"/>
                    <a:gd name="T33" fmla="*/ 3 h 143"/>
                    <a:gd name="T34" fmla="*/ 138 w 141"/>
                    <a:gd name="T35" fmla="*/ 30 h 143"/>
                    <a:gd name="T36" fmla="*/ 87 w 141"/>
                    <a:gd name="T37" fmla="*/ 45 h 143"/>
                    <a:gd name="T38" fmla="*/ 67 w 141"/>
                    <a:gd name="T39" fmla="*/ 23 h 143"/>
                    <a:gd name="T40" fmla="*/ 42 w 141"/>
                    <a:gd name="T41" fmla="*/ 44 h 143"/>
                    <a:gd name="T42" fmla="*/ 62 w 141"/>
                    <a:gd name="T43" fmla="*/ 66 h 143"/>
                    <a:gd name="T44" fmla="*/ 87 w 141"/>
                    <a:gd name="T45" fmla="*/ 45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1" h="143">
                      <a:moveTo>
                        <a:pt x="138" y="30"/>
                      </a:moveTo>
                      <a:cubicBezTo>
                        <a:pt x="114" y="29"/>
                        <a:pt x="114" y="29"/>
                        <a:pt x="114" y="29"/>
                      </a:cubicBezTo>
                      <a:cubicBezTo>
                        <a:pt x="117" y="34"/>
                        <a:pt x="118" y="40"/>
                        <a:pt x="117" y="47"/>
                      </a:cubicBezTo>
                      <a:cubicBezTo>
                        <a:pt x="114" y="70"/>
                        <a:pt x="90" y="88"/>
                        <a:pt x="59" y="88"/>
                      </a:cubicBezTo>
                      <a:cubicBezTo>
                        <a:pt x="58" y="88"/>
                        <a:pt x="56" y="88"/>
                        <a:pt x="54" y="88"/>
                      </a:cubicBezTo>
                      <a:cubicBezTo>
                        <a:pt x="35" y="113"/>
                        <a:pt x="35" y="113"/>
                        <a:pt x="35" y="113"/>
                      </a:cubicBezTo>
                      <a:cubicBezTo>
                        <a:pt x="49" y="105"/>
                        <a:pt x="67" y="98"/>
                        <a:pt x="84" y="98"/>
                      </a:cubicBezTo>
                      <a:cubicBezTo>
                        <a:pt x="102" y="98"/>
                        <a:pt x="120" y="106"/>
                        <a:pt x="118" y="139"/>
                      </a:cubicBezTo>
                      <a:cubicBezTo>
                        <a:pt x="84" y="143"/>
                        <a:pt x="84" y="143"/>
                        <a:pt x="84" y="143"/>
                      </a:cubicBezTo>
                      <a:cubicBezTo>
                        <a:pt x="84" y="128"/>
                        <a:pt x="77" y="125"/>
                        <a:pt x="66" y="125"/>
                      </a:cubicBezTo>
                      <a:cubicBezTo>
                        <a:pt x="53" y="125"/>
                        <a:pt x="34" y="130"/>
                        <a:pt x="18" y="139"/>
                      </a:cubicBezTo>
                      <a:cubicBezTo>
                        <a:pt x="0" y="127"/>
                        <a:pt x="0" y="127"/>
                        <a:pt x="0" y="127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15" y="72"/>
                        <a:pt x="9" y="59"/>
                        <a:pt x="11" y="45"/>
                      </a:cubicBezTo>
                      <a:cubicBezTo>
                        <a:pt x="15" y="21"/>
                        <a:pt x="40" y="0"/>
                        <a:pt x="71" y="0"/>
                      </a:cubicBezTo>
                      <a:cubicBezTo>
                        <a:pt x="78" y="0"/>
                        <a:pt x="85" y="1"/>
                        <a:pt x="91" y="3"/>
                      </a:cubicBezTo>
                      <a:cubicBezTo>
                        <a:pt x="141" y="3"/>
                        <a:pt x="141" y="3"/>
                        <a:pt x="141" y="3"/>
                      </a:cubicBezTo>
                      <a:lnTo>
                        <a:pt x="138" y="30"/>
                      </a:lnTo>
                      <a:close/>
                      <a:moveTo>
                        <a:pt x="87" y="45"/>
                      </a:moveTo>
                      <a:cubicBezTo>
                        <a:pt x="89" y="31"/>
                        <a:pt x="79" y="23"/>
                        <a:pt x="67" y="23"/>
                      </a:cubicBezTo>
                      <a:cubicBezTo>
                        <a:pt x="55" y="23"/>
                        <a:pt x="44" y="31"/>
                        <a:pt x="42" y="44"/>
                      </a:cubicBezTo>
                      <a:cubicBezTo>
                        <a:pt x="40" y="57"/>
                        <a:pt x="50" y="66"/>
                        <a:pt x="62" y="66"/>
                      </a:cubicBezTo>
                      <a:cubicBezTo>
                        <a:pt x="74" y="66"/>
                        <a:pt x="85" y="58"/>
                        <a:pt x="87" y="45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" name="Freeform 19">
                  <a:extLst>
                    <a:ext uri="{FF2B5EF4-FFF2-40B4-BE49-F238E27FC236}">
                      <a16:creationId xmlns:a16="http://schemas.microsoft.com/office/drawing/2014/main" id="{F91CB710-B383-43F3-B866-2051D19A747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58853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1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8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3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26" name="Rectangle 20">
                <a:extLst>
                  <a:ext uri="{FF2B5EF4-FFF2-40B4-BE49-F238E27FC236}">
                    <a16:creationId xmlns:a16="http://schemas.microsoft.com/office/drawing/2014/main" id="{F0BD5216-1B8B-4338-9D48-6F3C7DBADBB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Rectangle 21">
                <a:extLst>
                  <a:ext uri="{FF2B5EF4-FFF2-40B4-BE49-F238E27FC236}">
                    <a16:creationId xmlns:a16="http://schemas.microsoft.com/office/drawing/2014/main" id="{AC50AD3F-AA70-4094-ADEC-F9A993D27BD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Oval 22">
                <a:extLst>
                  <a:ext uri="{FF2B5EF4-FFF2-40B4-BE49-F238E27FC236}">
                    <a16:creationId xmlns:a16="http://schemas.microsoft.com/office/drawing/2014/main" id="{809AD6BF-5BA6-41C7-BE10-73407395703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23">
                <a:extLst>
                  <a:ext uri="{FF2B5EF4-FFF2-40B4-BE49-F238E27FC236}">
                    <a16:creationId xmlns:a16="http://schemas.microsoft.com/office/drawing/2014/main" id="{A689BEE4-A99B-4A5C-A110-ECBEADC28C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Freeform 24">
                <a:extLst>
                  <a:ext uri="{FF2B5EF4-FFF2-40B4-BE49-F238E27FC236}">
                    <a16:creationId xmlns:a16="http://schemas.microsoft.com/office/drawing/2014/main" id="{E36879E8-3339-4D5E-87CC-63DFA5A947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Freeform 25">
                <a:extLst>
                  <a:ext uri="{FF2B5EF4-FFF2-40B4-BE49-F238E27FC236}">
                    <a16:creationId xmlns:a16="http://schemas.microsoft.com/office/drawing/2014/main" id="{DAEE6491-753A-4F53-A93D-8EAE99602D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Freeform 26">
                <a:extLst>
                  <a:ext uri="{FF2B5EF4-FFF2-40B4-BE49-F238E27FC236}">
                    <a16:creationId xmlns:a16="http://schemas.microsoft.com/office/drawing/2014/main" id="{51F66A9F-39AB-483C-B150-6874999F0C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3" name="Freeform 27">
              <a:extLst>
                <a:ext uri="{FF2B5EF4-FFF2-40B4-BE49-F238E27FC236}">
                  <a16:creationId xmlns:a16="http://schemas.microsoft.com/office/drawing/2014/main" id="{D1C34241-1362-46D9-A5C6-5A9C64E71F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12009" y="3003684"/>
              <a:ext cx="3335482" cy="994073"/>
            </a:xfrm>
            <a:custGeom>
              <a:avLst/>
              <a:gdLst>
                <a:gd name="T0" fmla="*/ 785 w 3117"/>
                <a:gd name="T1" fmla="*/ 65 h 928"/>
                <a:gd name="T2" fmla="*/ 504 w 3117"/>
                <a:gd name="T3" fmla="*/ 556 h 928"/>
                <a:gd name="T4" fmla="*/ 132 w 3117"/>
                <a:gd name="T5" fmla="*/ 921 h 928"/>
                <a:gd name="T6" fmla="*/ 0 w 3117"/>
                <a:gd name="T7" fmla="*/ 777 h 928"/>
                <a:gd name="T8" fmla="*/ 231 w 3117"/>
                <a:gd name="T9" fmla="*/ 626 h 928"/>
                <a:gd name="T10" fmla="*/ 41 w 3117"/>
                <a:gd name="T11" fmla="*/ 65 h 928"/>
                <a:gd name="T12" fmla="*/ 276 w 3117"/>
                <a:gd name="T13" fmla="*/ 65 h 928"/>
                <a:gd name="T14" fmla="*/ 375 w 3117"/>
                <a:gd name="T15" fmla="*/ 419 h 928"/>
                <a:gd name="T16" fmla="*/ 563 w 3117"/>
                <a:gd name="T17" fmla="*/ 65 h 928"/>
                <a:gd name="T18" fmla="*/ 785 w 3117"/>
                <a:gd name="T19" fmla="*/ 65 h 928"/>
                <a:gd name="T20" fmla="*/ 1082 w 3117"/>
                <a:gd name="T21" fmla="*/ 162 h 928"/>
                <a:gd name="T22" fmla="*/ 890 w 3117"/>
                <a:gd name="T23" fmla="*/ 495 h 928"/>
                <a:gd name="T24" fmla="*/ 768 w 3117"/>
                <a:gd name="T25" fmla="*/ 412 h 928"/>
                <a:gd name="T26" fmla="*/ 867 w 3117"/>
                <a:gd name="T27" fmla="*/ 162 h 928"/>
                <a:gd name="T28" fmla="*/ 885 w 3117"/>
                <a:gd name="T29" fmla="*/ 67 h 928"/>
                <a:gd name="T30" fmla="*/ 1098 w 3117"/>
                <a:gd name="T31" fmla="*/ 67 h 928"/>
                <a:gd name="T32" fmla="*/ 1082 w 3117"/>
                <a:gd name="T33" fmla="*/ 162 h 928"/>
                <a:gd name="T34" fmla="*/ 1642 w 3117"/>
                <a:gd name="T35" fmla="*/ 654 h 928"/>
                <a:gd name="T36" fmla="*/ 1220 w 3117"/>
                <a:gd name="T37" fmla="*/ 654 h 928"/>
                <a:gd name="T38" fmla="*/ 1373 w 3117"/>
                <a:gd name="T39" fmla="*/ 759 h 928"/>
                <a:gd name="T40" fmla="*/ 1583 w 3117"/>
                <a:gd name="T41" fmla="*/ 707 h 928"/>
                <a:gd name="T42" fmla="*/ 1646 w 3117"/>
                <a:gd name="T43" fmla="*/ 824 h 928"/>
                <a:gd name="T44" fmla="*/ 1329 w 3117"/>
                <a:gd name="T45" fmla="*/ 928 h 928"/>
                <a:gd name="T46" fmla="*/ 1001 w 3117"/>
                <a:gd name="T47" fmla="*/ 636 h 928"/>
                <a:gd name="T48" fmla="*/ 1406 w 3117"/>
                <a:gd name="T49" fmla="*/ 260 h 928"/>
                <a:gd name="T50" fmla="*/ 1685 w 3117"/>
                <a:gd name="T51" fmla="*/ 497 h 928"/>
                <a:gd name="T52" fmla="*/ 1642 w 3117"/>
                <a:gd name="T53" fmla="*/ 654 h 928"/>
                <a:gd name="T54" fmla="*/ 1496 w 3117"/>
                <a:gd name="T55" fmla="*/ 500 h 928"/>
                <a:gd name="T56" fmla="*/ 1390 w 3117"/>
                <a:gd name="T57" fmla="*/ 407 h 928"/>
                <a:gd name="T58" fmla="*/ 1239 w 3117"/>
                <a:gd name="T59" fmla="*/ 510 h 928"/>
                <a:gd name="T60" fmla="*/ 1496 w 3117"/>
                <a:gd name="T61" fmla="*/ 510 h 928"/>
                <a:gd name="T62" fmla="*/ 1496 w 3117"/>
                <a:gd name="T63" fmla="*/ 500 h 928"/>
                <a:gd name="T64" fmla="*/ 2094 w 3117"/>
                <a:gd name="T65" fmla="*/ 0 h 928"/>
                <a:gd name="T66" fmla="*/ 1934 w 3117"/>
                <a:gd name="T67" fmla="*/ 900 h 928"/>
                <a:gd name="T68" fmla="*/ 1715 w 3117"/>
                <a:gd name="T69" fmla="*/ 900 h 928"/>
                <a:gd name="T70" fmla="*/ 1866 w 3117"/>
                <a:gd name="T71" fmla="*/ 44 h 928"/>
                <a:gd name="T72" fmla="*/ 2094 w 3117"/>
                <a:gd name="T73" fmla="*/ 0 h 928"/>
                <a:gd name="T74" fmla="*/ 2416 w 3117"/>
                <a:gd name="T75" fmla="*/ 0 h 928"/>
                <a:gd name="T76" fmla="*/ 2256 w 3117"/>
                <a:gd name="T77" fmla="*/ 900 h 928"/>
                <a:gd name="T78" fmla="*/ 2038 w 3117"/>
                <a:gd name="T79" fmla="*/ 900 h 928"/>
                <a:gd name="T80" fmla="*/ 2189 w 3117"/>
                <a:gd name="T81" fmla="*/ 44 h 928"/>
                <a:gd name="T82" fmla="*/ 2416 w 3117"/>
                <a:gd name="T83" fmla="*/ 0 h 928"/>
                <a:gd name="T84" fmla="*/ 3117 w 3117"/>
                <a:gd name="T85" fmla="*/ 552 h 928"/>
                <a:gd name="T86" fmla="*/ 2709 w 3117"/>
                <a:gd name="T87" fmla="*/ 928 h 928"/>
                <a:gd name="T88" fmla="*/ 2384 w 3117"/>
                <a:gd name="T89" fmla="*/ 633 h 928"/>
                <a:gd name="T90" fmla="*/ 2792 w 3117"/>
                <a:gd name="T91" fmla="*/ 260 h 928"/>
                <a:gd name="T92" fmla="*/ 3117 w 3117"/>
                <a:gd name="T93" fmla="*/ 552 h 928"/>
                <a:gd name="T94" fmla="*/ 2888 w 3117"/>
                <a:gd name="T95" fmla="*/ 556 h 928"/>
                <a:gd name="T96" fmla="*/ 2778 w 3117"/>
                <a:gd name="T97" fmla="*/ 421 h 928"/>
                <a:gd name="T98" fmla="*/ 2613 w 3117"/>
                <a:gd name="T99" fmla="*/ 628 h 928"/>
                <a:gd name="T100" fmla="*/ 2721 w 3117"/>
                <a:gd name="T101" fmla="*/ 764 h 928"/>
                <a:gd name="T102" fmla="*/ 2888 w 3117"/>
                <a:gd name="T103" fmla="*/ 556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17" h="928">
                  <a:moveTo>
                    <a:pt x="785" y="65"/>
                  </a:moveTo>
                  <a:cubicBezTo>
                    <a:pt x="504" y="556"/>
                    <a:pt x="504" y="556"/>
                    <a:pt x="504" y="556"/>
                  </a:cubicBezTo>
                  <a:cubicBezTo>
                    <a:pt x="398" y="742"/>
                    <a:pt x="306" y="833"/>
                    <a:pt x="132" y="921"/>
                  </a:cubicBezTo>
                  <a:cubicBezTo>
                    <a:pt x="0" y="777"/>
                    <a:pt x="0" y="777"/>
                    <a:pt x="0" y="777"/>
                  </a:cubicBezTo>
                  <a:cubicBezTo>
                    <a:pt x="80" y="744"/>
                    <a:pt x="164" y="690"/>
                    <a:pt x="231" y="626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276" y="65"/>
                    <a:pt x="276" y="65"/>
                    <a:pt x="276" y="65"/>
                  </a:cubicBezTo>
                  <a:cubicBezTo>
                    <a:pt x="375" y="419"/>
                    <a:pt x="375" y="419"/>
                    <a:pt x="375" y="419"/>
                  </a:cubicBezTo>
                  <a:cubicBezTo>
                    <a:pt x="563" y="65"/>
                    <a:pt x="563" y="65"/>
                    <a:pt x="563" y="65"/>
                  </a:cubicBezTo>
                  <a:lnTo>
                    <a:pt x="785" y="65"/>
                  </a:lnTo>
                  <a:close/>
                  <a:moveTo>
                    <a:pt x="1082" y="162"/>
                  </a:moveTo>
                  <a:cubicBezTo>
                    <a:pt x="1057" y="311"/>
                    <a:pt x="977" y="423"/>
                    <a:pt x="890" y="495"/>
                  </a:cubicBezTo>
                  <a:cubicBezTo>
                    <a:pt x="768" y="412"/>
                    <a:pt x="768" y="412"/>
                    <a:pt x="768" y="412"/>
                  </a:cubicBezTo>
                  <a:cubicBezTo>
                    <a:pt x="790" y="382"/>
                    <a:pt x="839" y="313"/>
                    <a:pt x="867" y="162"/>
                  </a:cubicBezTo>
                  <a:cubicBezTo>
                    <a:pt x="885" y="67"/>
                    <a:pt x="885" y="67"/>
                    <a:pt x="885" y="67"/>
                  </a:cubicBezTo>
                  <a:cubicBezTo>
                    <a:pt x="1098" y="67"/>
                    <a:pt x="1098" y="67"/>
                    <a:pt x="1098" y="67"/>
                  </a:cubicBezTo>
                  <a:lnTo>
                    <a:pt x="1082" y="162"/>
                  </a:lnTo>
                  <a:close/>
                  <a:moveTo>
                    <a:pt x="1642" y="654"/>
                  </a:moveTo>
                  <a:cubicBezTo>
                    <a:pt x="1220" y="654"/>
                    <a:pt x="1220" y="654"/>
                    <a:pt x="1220" y="654"/>
                  </a:cubicBezTo>
                  <a:cubicBezTo>
                    <a:pt x="1233" y="722"/>
                    <a:pt x="1279" y="759"/>
                    <a:pt x="1373" y="759"/>
                  </a:cubicBezTo>
                  <a:cubicBezTo>
                    <a:pt x="1445" y="759"/>
                    <a:pt x="1526" y="737"/>
                    <a:pt x="1583" y="707"/>
                  </a:cubicBezTo>
                  <a:cubicBezTo>
                    <a:pt x="1646" y="824"/>
                    <a:pt x="1646" y="824"/>
                    <a:pt x="1646" y="824"/>
                  </a:cubicBezTo>
                  <a:cubicBezTo>
                    <a:pt x="1566" y="882"/>
                    <a:pt x="1451" y="928"/>
                    <a:pt x="1329" y="928"/>
                  </a:cubicBezTo>
                  <a:cubicBezTo>
                    <a:pt x="1134" y="928"/>
                    <a:pt x="1001" y="812"/>
                    <a:pt x="1001" y="636"/>
                  </a:cubicBezTo>
                  <a:cubicBezTo>
                    <a:pt x="1001" y="430"/>
                    <a:pt x="1185" y="260"/>
                    <a:pt x="1406" y="260"/>
                  </a:cubicBezTo>
                  <a:cubicBezTo>
                    <a:pt x="1573" y="260"/>
                    <a:pt x="1685" y="358"/>
                    <a:pt x="1685" y="497"/>
                  </a:cubicBezTo>
                  <a:cubicBezTo>
                    <a:pt x="1685" y="560"/>
                    <a:pt x="1663" y="614"/>
                    <a:pt x="1642" y="654"/>
                  </a:cubicBezTo>
                  <a:close/>
                  <a:moveTo>
                    <a:pt x="1496" y="500"/>
                  </a:moveTo>
                  <a:cubicBezTo>
                    <a:pt x="1496" y="444"/>
                    <a:pt x="1454" y="407"/>
                    <a:pt x="1390" y="407"/>
                  </a:cubicBezTo>
                  <a:cubicBezTo>
                    <a:pt x="1323" y="407"/>
                    <a:pt x="1267" y="447"/>
                    <a:pt x="1239" y="510"/>
                  </a:cubicBezTo>
                  <a:cubicBezTo>
                    <a:pt x="1496" y="510"/>
                    <a:pt x="1496" y="510"/>
                    <a:pt x="1496" y="510"/>
                  </a:cubicBezTo>
                  <a:lnTo>
                    <a:pt x="1496" y="500"/>
                  </a:lnTo>
                  <a:close/>
                  <a:moveTo>
                    <a:pt x="2094" y="0"/>
                  </a:moveTo>
                  <a:cubicBezTo>
                    <a:pt x="1934" y="900"/>
                    <a:pt x="1934" y="900"/>
                    <a:pt x="1934" y="900"/>
                  </a:cubicBezTo>
                  <a:cubicBezTo>
                    <a:pt x="1715" y="900"/>
                    <a:pt x="1715" y="900"/>
                    <a:pt x="1715" y="900"/>
                  </a:cubicBezTo>
                  <a:cubicBezTo>
                    <a:pt x="1866" y="44"/>
                    <a:pt x="1866" y="44"/>
                    <a:pt x="1866" y="44"/>
                  </a:cubicBezTo>
                  <a:lnTo>
                    <a:pt x="2094" y="0"/>
                  </a:lnTo>
                  <a:close/>
                  <a:moveTo>
                    <a:pt x="2416" y="0"/>
                  </a:moveTo>
                  <a:cubicBezTo>
                    <a:pt x="2256" y="900"/>
                    <a:pt x="2256" y="900"/>
                    <a:pt x="2256" y="900"/>
                  </a:cubicBezTo>
                  <a:cubicBezTo>
                    <a:pt x="2038" y="900"/>
                    <a:pt x="2038" y="900"/>
                    <a:pt x="2038" y="900"/>
                  </a:cubicBezTo>
                  <a:cubicBezTo>
                    <a:pt x="2189" y="44"/>
                    <a:pt x="2189" y="44"/>
                    <a:pt x="2189" y="44"/>
                  </a:cubicBezTo>
                  <a:lnTo>
                    <a:pt x="2416" y="0"/>
                  </a:lnTo>
                  <a:close/>
                  <a:moveTo>
                    <a:pt x="3117" y="552"/>
                  </a:moveTo>
                  <a:cubicBezTo>
                    <a:pt x="3117" y="751"/>
                    <a:pt x="2943" y="928"/>
                    <a:pt x="2709" y="928"/>
                  </a:cubicBezTo>
                  <a:cubicBezTo>
                    <a:pt x="2518" y="928"/>
                    <a:pt x="2384" y="807"/>
                    <a:pt x="2384" y="633"/>
                  </a:cubicBezTo>
                  <a:cubicBezTo>
                    <a:pt x="2384" y="437"/>
                    <a:pt x="2556" y="260"/>
                    <a:pt x="2792" y="260"/>
                  </a:cubicBezTo>
                  <a:cubicBezTo>
                    <a:pt x="2986" y="260"/>
                    <a:pt x="3117" y="382"/>
                    <a:pt x="3117" y="552"/>
                  </a:cubicBezTo>
                  <a:close/>
                  <a:moveTo>
                    <a:pt x="2888" y="556"/>
                  </a:moveTo>
                  <a:cubicBezTo>
                    <a:pt x="2888" y="467"/>
                    <a:pt x="2851" y="421"/>
                    <a:pt x="2778" y="421"/>
                  </a:cubicBezTo>
                  <a:cubicBezTo>
                    <a:pt x="2679" y="421"/>
                    <a:pt x="2613" y="510"/>
                    <a:pt x="2613" y="628"/>
                  </a:cubicBezTo>
                  <a:cubicBezTo>
                    <a:pt x="2613" y="717"/>
                    <a:pt x="2650" y="764"/>
                    <a:pt x="2721" y="764"/>
                  </a:cubicBezTo>
                  <a:cubicBezTo>
                    <a:pt x="2820" y="764"/>
                    <a:pt x="2888" y="675"/>
                    <a:pt x="2888" y="5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015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'ell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14383AA-406F-4934-9753-4ED3F060DFD5}"/>
              </a:ext>
            </a:extLst>
          </p:cNvPr>
          <p:cNvGrpSpPr/>
          <p:nvPr userDrawn="1"/>
        </p:nvGrpSpPr>
        <p:grpSpPr>
          <a:xfrm>
            <a:off x="1" y="677021"/>
            <a:ext cx="11798299" cy="5784424"/>
            <a:chOff x="1" y="677021"/>
            <a:chExt cx="11798299" cy="5784424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1650E10-6968-4460-A8AF-F2E779CEF2A5}"/>
                </a:ext>
              </a:extLst>
            </p:cNvPr>
            <p:cNvSpPr/>
            <p:nvPr userDrawn="1"/>
          </p:nvSpPr>
          <p:spPr>
            <a:xfrm>
              <a:off x="1" y="677021"/>
              <a:ext cx="6668655" cy="5490104"/>
            </a:xfrm>
            <a:custGeom>
              <a:avLst/>
              <a:gdLst>
                <a:gd name="connsiteX0" fmla="*/ 0 w 6668655"/>
                <a:gd name="connsiteY0" fmla="*/ 0 h 5490104"/>
                <a:gd name="connsiteX1" fmla="*/ 560043 w 6668655"/>
                <a:gd name="connsiteY1" fmla="*/ 11421 h 5490104"/>
                <a:gd name="connsiteX2" fmla="*/ 6668655 w 6668655"/>
                <a:gd name="connsiteY2" fmla="*/ 2745052 h 5490104"/>
                <a:gd name="connsiteX3" fmla="*/ 560043 w 6668655"/>
                <a:gd name="connsiteY3" fmla="*/ 5478684 h 5490104"/>
                <a:gd name="connsiteX4" fmla="*/ 0 w 6668655"/>
                <a:gd name="connsiteY4" fmla="*/ 5490104 h 54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8655" h="5490104">
                  <a:moveTo>
                    <a:pt x="0" y="0"/>
                  </a:moveTo>
                  <a:lnTo>
                    <a:pt x="560043" y="11421"/>
                  </a:lnTo>
                  <a:cubicBezTo>
                    <a:pt x="3991160" y="152137"/>
                    <a:pt x="6668655" y="1322323"/>
                    <a:pt x="6668655" y="2745052"/>
                  </a:cubicBezTo>
                  <a:cubicBezTo>
                    <a:pt x="6668655" y="4167782"/>
                    <a:pt x="3991160" y="5337968"/>
                    <a:pt x="560043" y="5478684"/>
                  </a:cubicBezTo>
                  <a:lnTo>
                    <a:pt x="0" y="54901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D3DD1D8-0C73-4A37-A95C-268574090C54}"/>
                </a:ext>
              </a:extLst>
            </p:cNvPr>
            <p:cNvGrpSpPr/>
            <p:nvPr userDrawn="1"/>
          </p:nvGrpSpPr>
          <p:grpSpPr>
            <a:xfrm>
              <a:off x="7813964" y="5310073"/>
              <a:ext cx="3984336" cy="1151372"/>
              <a:chOff x="7813964" y="5310073"/>
              <a:chExt cx="3984336" cy="1151372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862DEE85-834B-4C70-92E6-AF11FA179D4E}"/>
                  </a:ext>
                </a:extLst>
              </p:cNvPr>
              <p:cNvGrpSpPr/>
              <p:nvPr userDrawn="1"/>
            </p:nvGrpSpPr>
            <p:grpSpPr>
              <a:xfrm>
                <a:off x="7813964" y="5788335"/>
                <a:ext cx="2358245" cy="226732"/>
                <a:chOff x="19621500" y="3297238"/>
                <a:chExt cx="3170238" cy="304801"/>
              </a:xfrm>
            </p:grpSpPr>
            <p:sp>
              <p:nvSpPr>
                <p:cNvPr id="19" name="Freeform 5">
                  <a:extLst>
                    <a:ext uri="{FF2B5EF4-FFF2-40B4-BE49-F238E27FC236}">
                      <a16:creationId xmlns:a16="http://schemas.microsoft.com/office/drawing/2014/main" id="{3A226D94-1B63-4346-8FC1-2D0B0D0F4246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962150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" name="Freeform 6">
                  <a:extLst>
                    <a:ext uri="{FF2B5EF4-FFF2-40B4-BE49-F238E27FC236}">
                      <a16:creationId xmlns:a16="http://schemas.microsoft.com/office/drawing/2014/main" id="{40C0D4B4-FBCA-4E7D-A14C-36B275690E8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9829463" y="3370263"/>
                  <a:ext cx="190500" cy="161925"/>
                </a:xfrm>
                <a:custGeom>
                  <a:avLst/>
                  <a:gdLst>
                    <a:gd name="T0" fmla="*/ 120 w 120"/>
                    <a:gd name="T1" fmla="*/ 0 h 102"/>
                    <a:gd name="T2" fmla="*/ 62 w 120"/>
                    <a:gd name="T3" fmla="*/ 102 h 102"/>
                    <a:gd name="T4" fmla="*/ 29 w 120"/>
                    <a:gd name="T5" fmla="*/ 102 h 102"/>
                    <a:gd name="T6" fmla="*/ 0 w 120"/>
                    <a:gd name="T7" fmla="*/ 0 h 102"/>
                    <a:gd name="T8" fmla="*/ 35 w 120"/>
                    <a:gd name="T9" fmla="*/ 0 h 102"/>
                    <a:gd name="T10" fmla="*/ 52 w 120"/>
                    <a:gd name="T11" fmla="*/ 67 h 102"/>
                    <a:gd name="T12" fmla="*/ 87 w 120"/>
                    <a:gd name="T13" fmla="*/ 0 h 102"/>
                    <a:gd name="T14" fmla="*/ 120 w 120"/>
                    <a:gd name="T1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0" h="102">
                      <a:moveTo>
                        <a:pt x="120" y="0"/>
                      </a:moveTo>
                      <a:lnTo>
                        <a:pt x="62" y="102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2" y="67"/>
                      </a:lnTo>
                      <a:lnTo>
                        <a:pt x="87" y="0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" name="Freeform 7">
                  <a:extLst>
                    <a:ext uri="{FF2B5EF4-FFF2-40B4-BE49-F238E27FC236}">
                      <a16:creationId xmlns:a16="http://schemas.microsoft.com/office/drawing/2014/main" id="{83CFD990-3722-42A7-9550-9C9543697AA9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0013613" y="3363913"/>
                  <a:ext cx="188913" cy="176213"/>
                </a:xfrm>
                <a:custGeom>
                  <a:avLst/>
                  <a:gdLst>
                    <a:gd name="T0" fmla="*/ 106 w 114"/>
                    <a:gd name="T1" fmla="*/ 88 h 106"/>
                    <a:gd name="T2" fmla="*/ 54 w 114"/>
                    <a:gd name="T3" fmla="*/ 106 h 106"/>
                    <a:gd name="T4" fmla="*/ 4 w 114"/>
                    <a:gd name="T5" fmla="*/ 55 h 106"/>
                    <a:gd name="T6" fmla="*/ 69 w 114"/>
                    <a:gd name="T7" fmla="*/ 0 h 106"/>
                    <a:gd name="T8" fmla="*/ 111 w 114"/>
                    <a:gd name="T9" fmla="*/ 44 h 106"/>
                    <a:gd name="T10" fmla="*/ 105 w 114"/>
                    <a:gd name="T11" fmla="*/ 61 h 106"/>
                    <a:gd name="T12" fmla="*/ 35 w 114"/>
                    <a:gd name="T13" fmla="*/ 61 h 106"/>
                    <a:gd name="T14" fmla="*/ 64 w 114"/>
                    <a:gd name="T15" fmla="*/ 81 h 106"/>
                    <a:gd name="T16" fmla="*/ 97 w 114"/>
                    <a:gd name="T17" fmla="*/ 72 h 106"/>
                    <a:gd name="T18" fmla="*/ 106 w 114"/>
                    <a:gd name="T19" fmla="*/ 88 h 106"/>
                    <a:gd name="T20" fmla="*/ 38 w 114"/>
                    <a:gd name="T21" fmla="*/ 40 h 106"/>
                    <a:gd name="T22" fmla="*/ 83 w 114"/>
                    <a:gd name="T23" fmla="*/ 40 h 106"/>
                    <a:gd name="T24" fmla="*/ 66 w 114"/>
                    <a:gd name="T25" fmla="*/ 22 h 106"/>
                    <a:gd name="T26" fmla="*/ 38 w 114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4" y="18"/>
                        <a:pt x="111" y="44"/>
                      </a:cubicBezTo>
                      <a:cubicBezTo>
                        <a:pt x="110" y="51"/>
                        <a:pt x="107" y="57"/>
                        <a:pt x="105" y="61"/>
                      </a:cubicBezTo>
                      <a:cubicBezTo>
                        <a:pt x="35" y="61"/>
                        <a:pt x="35" y="61"/>
                        <a:pt x="35" y="61"/>
                      </a:cubicBezTo>
                      <a:cubicBezTo>
                        <a:pt x="37" y="74"/>
                        <a:pt x="47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3" y="40"/>
                        <a:pt x="83" y="40"/>
                        <a:pt x="83" y="40"/>
                      </a:cubicBezTo>
                      <a:cubicBezTo>
                        <a:pt x="84" y="29"/>
                        <a:pt x="77" y="22"/>
                        <a:pt x="66" y="22"/>
                      </a:cubicBezTo>
                      <a:cubicBezTo>
                        <a:pt x="55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" name="Freeform 8">
                  <a:extLst>
                    <a:ext uri="{FF2B5EF4-FFF2-40B4-BE49-F238E27FC236}">
                      <a16:creationId xmlns:a16="http://schemas.microsoft.com/office/drawing/2014/main" id="{7C7F4A8C-74E7-4FB9-8298-D443C8B044A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219988" y="3365501"/>
                  <a:ext cx="146050" cy="166688"/>
                </a:xfrm>
                <a:custGeom>
                  <a:avLst/>
                  <a:gdLst>
                    <a:gd name="T0" fmla="*/ 89 w 89"/>
                    <a:gd name="T1" fmla="*/ 2 h 100"/>
                    <a:gd name="T2" fmla="*/ 84 w 89"/>
                    <a:gd name="T3" fmla="*/ 32 h 100"/>
                    <a:gd name="T4" fmla="*/ 70 w 89"/>
                    <a:gd name="T5" fmla="*/ 30 h 100"/>
                    <a:gd name="T6" fmla="*/ 40 w 89"/>
                    <a:gd name="T7" fmla="*/ 46 h 100"/>
                    <a:gd name="T8" fmla="*/ 32 w 89"/>
                    <a:gd name="T9" fmla="*/ 100 h 100"/>
                    <a:gd name="T10" fmla="*/ 0 w 89"/>
                    <a:gd name="T11" fmla="*/ 100 h 100"/>
                    <a:gd name="T12" fmla="*/ 14 w 89"/>
                    <a:gd name="T13" fmla="*/ 6 h 100"/>
                    <a:gd name="T14" fmla="*/ 45 w 89"/>
                    <a:gd name="T15" fmla="*/ 0 h 100"/>
                    <a:gd name="T16" fmla="*/ 42 w 89"/>
                    <a:gd name="T17" fmla="*/ 22 h 100"/>
                    <a:gd name="T18" fmla="*/ 77 w 89"/>
                    <a:gd name="T19" fmla="*/ 0 h 100"/>
                    <a:gd name="T20" fmla="*/ 89 w 89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9" h="100">
                      <a:moveTo>
                        <a:pt x="89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5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9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" name="Freeform 9">
                  <a:extLst>
                    <a:ext uri="{FF2B5EF4-FFF2-40B4-BE49-F238E27FC236}">
                      <a16:creationId xmlns:a16="http://schemas.microsoft.com/office/drawing/2014/main" id="{F7B9B99B-216F-4618-91FA-8336EB6BDE44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369213" y="3370263"/>
                  <a:ext cx="187325" cy="228600"/>
                </a:xfrm>
                <a:custGeom>
                  <a:avLst/>
                  <a:gdLst>
                    <a:gd name="T0" fmla="*/ 118 w 118"/>
                    <a:gd name="T1" fmla="*/ 0 h 144"/>
                    <a:gd name="T2" fmla="*/ 38 w 118"/>
                    <a:gd name="T3" fmla="*/ 144 h 144"/>
                    <a:gd name="T4" fmla="*/ 5 w 118"/>
                    <a:gd name="T5" fmla="*/ 144 h 144"/>
                    <a:gd name="T6" fmla="*/ 31 w 118"/>
                    <a:gd name="T7" fmla="*/ 102 h 144"/>
                    <a:gd name="T8" fmla="*/ 0 w 118"/>
                    <a:gd name="T9" fmla="*/ 0 h 144"/>
                    <a:gd name="T10" fmla="*/ 37 w 118"/>
                    <a:gd name="T11" fmla="*/ 0 h 144"/>
                    <a:gd name="T12" fmla="*/ 53 w 118"/>
                    <a:gd name="T13" fmla="*/ 64 h 144"/>
                    <a:gd name="T14" fmla="*/ 86 w 118"/>
                    <a:gd name="T15" fmla="*/ 0 h 144"/>
                    <a:gd name="T16" fmla="*/ 118 w 118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8" h="144">
                      <a:moveTo>
                        <a:pt x="118" y="0"/>
                      </a:moveTo>
                      <a:lnTo>
                        <a:pt x="38" y="144"/>
                      </a:lnTo>
                      <a:lnTo>
                        <a:pt x="5" y="144"/>
                      </a:lnTo>
                      <a:lnTo>
                        <a:pt x="31" y="102"/>
                      </a:lnTo>
                      <a:lnTo>
                        <a:pt x="0" y="0"/>
                      </a:lnTo>
                      <a:lnTo>
                        <a:pt x="37" y="0"/>
                      </a:lnTo>
                      <a:lnTo>
                        <a:pt x="53" y="64"/>
                      </a:lnTo>
                      <a:lnTo>
                        <a:pt x="86" y="0"/>
                      </a:lnTo>
                      <a:lnTo>
                        <a:pt x="11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" name="Freeform 10">
                  <a:extLst>
                    <a:ext uri="{FF2B5EF4-FFF2-40B4-BE49-F238E27FC236}">
                      <a16:creationId xmlns:a16="http://schemas.microsoft.com/office/drawing/2014/main" id="{AE1C6143-B7CF-427C-B893-90E0AFADA39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561300" y="3370263"/>
                  <a:ext cx="266700" cy="161925"/>
                </a:xfrm>
                <a:custGeom>
                  <a:avLst/>
                  <a:gdLst>
                    <a:gd name="T0" fmla="*/ 168 w 168"/>
                    <a:gd name="T1" fmla="*/ 0 h 102"/>
                    <a:gd name="T2" fmla="*/ 119 w 168"/>
                    <a:gd name="T3" fmla="*/ 102 h 102"/>
                    <a:gd name="T4" fmla="*/ 88 w 168"/>
                    <a:gd name="T5" fmla="*/ 102 h 102"/>
                    <a:gd name="T6" fmla="*/ 76 w 168"/>
                    <a:gd name="T7" fmla="*/ 45 h 102"/>
                    <a:gd name="T8" fmla="*/ 52 w 168"/>
                    <a:gd name="T9" fmla="*/ 102 h 102"/>
                    <a:gd name="T10" fmla="*/ 20 w 168"/>
                    <a:gd name="T11" fmla="*/ 102 h 102"/>
                    <a:gd name="T12" fmla="*/ 0 w 168"/>
                    <a:gd name="T13" fmla="*/ 0 h 102"/>
                    <a:gd name="T14" fmla="*/ 34 w 168"/>
                    <a:gd name="T15" fmla="*/ 0 h 102"/>
                    <a:gd name="T16" fmla="*/ 43 w 168"/>
                    <a:gd name="T17" fmla="*/ 67 h 102"/>
                    <a:gd name="T18" fmla="*/ 70 w 168"/>
                    <a:gd name="T19" fmla="*/ 0 h 102"/>
                    <a:gd name="T20" fmla="*/ 100 w 168"/>
                    <a:gd name="T21" fmla="*/ 0 h 102"/>
                    <a:gd name="T22" fmla="*/ 111 w 168"/>
                    <a:gd name="T23" fmla="*/ 67 h 102"/>
                    <a:gd name="T24" fmla="*/ 137 w 168"/>
                    <a:gd name="T25" fmla="*/ 0 h 102"/>
                    <a:gd name="T26" fmla="*/ 168 w 168"/>
                    <a:gd name="T2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102">
                      <a:moveTo>
                        <a:pt x="168" y="0"/>
                      </a:moveTo>
                      <a:lnTo>
                        <a:pt x="119" y="102"/>
                      </a:lnTo>
                      <a:lnTo>
                        <a:pt x="88" y="102"/>
                      </a:lnTo>
                      <a:lnTo>
                        <a:pt x="76" y="45"/>
                      </a:lnTo>
                      <a:lnTo>
                        <a:pt x="52" y="102"/>
                      </a:lnTo>
                      <a:lnTo>
                        <a:pt x="20" y="102"/>
                      </a:ln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43" y="67"/>
                      </a:lnTo>
                      <a:lnTo>
                        <a:pt x="70" y="0"/>
                      </a:lnTo>
                      <a:lnTo>
                        <a:pt x="100" y="0"/>
                      </a:lnTo>
                      <a:lnTo>
                        <a:pt x="111" y="67"/>
                      </a:lnTo>
                      <a:lnTo>
                        <a:pt x="137" y="0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" name="Freeform 11">
                  <a:extLst>
                    <a:ext uri="{FF2B5EF4-FFF2-40B4-BE49-F238E27FC236}">
                      <a16:creationId xmlns:a16="http://schemas.microsoft.com/office/drawing/2014/main" id="{FBFCAFDA-A5EE-41A1-8E72-83BDEE516B3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831175" y="3297238"/>
                  <a:ext cx="192088" cy="234950"/>
                </a:xfrm>
                <a:custGeom>
                  <a:avLst/>
                  <a:gdLst>
                    <a:gd name="T0" fmla="*/ 112 w 116"/>
                    <a:gd name="T1" fmla="*/ 84 h 142"/>
                    <a:gd name="T2" fmla="*/ 103 w 116"/>
                    <a:gd name="T3" fmla="*/ 142 h 142"/>
                    <a:gd name="T4" fmla="*/ 71 w 116"/>
                    <a:gd name="T5" fmla="*/ 142 h 142"/>
                    <a:gd name="T6" fmla="*/ 78 w 116"/>
                    <a:gd name="T7" fmla="*/ 94 h 142"/>
                    <a:gd name="T8" fmla="*/ 64 w 116"/>
                    <a:gd name="T9" fmla="*/ 69 h 142"/>
                    <a:gd name="T10" fmla="*/ 41 w 116"/>
                    <a:gd name="T11" fmla="*/ 81 h 142"/>
                    <a:gd name="T12" fmla="*/ 32 w 116"/>
                    <a:gd name="T13" fmla="*/ 142 h 142"/>
                    <a:gd name="T14" fmla="*/ 0 w 116"/>
                    <a:gd name="T15" fmla="*/ 142 h 142"/>
                    <a:gd name="T16" fmla="*/ 19 w 116"/>
                    <a:gd name="T17" fmla="*/ 6 h 142"/>
                    <a:gd name="T18" fmla="*/ 52 w 116"/>
                    <a:gd name="T19" fmla="*/ 0 h 142"/>
                    <a:gd name="T20" fmla="*/ 44 w 116"/>
                    <a:gd name="T21" fmla="*/ 57 h 142"/>
                    <a:gd name="T22" fmla="*/ 81 w 116"/>
                    <a:gd name="T23" fmla="*/ 42 h 142"/>
                    <a:gd name="T24" fmla="*/ 112 w 116"/>
                    <a:gd name="T25" fmla="*/ 84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6" h="142">
                      <a:moveTo>
                        <a:pt x="112" y="84"/>
                      </a:moveTo>
                      <a:cubicBezTo>
                        <a:pt x="103" y="142"/>
                        <a:pt x="103" y="142"/>
                        <a:pt x="103" y="142"/>
                      </a:cubicBezTo>
                      <a:cubicBezTo>
                        <a:pt x="71" y="142"/>
                        <a:pt x="71" y="142"/>
                        <a:pt x="71" y="142"/>
                      </a:cubicBezTo>
                      <a:cubicBezTo>
                        <a:pt x="78" y="94"/>
                        <a:pt x="78" y="94"/>
                        <a:pt x="78" y="94"/>
                      </a:cubicBezTo>
                      <a:cubicBezTo>
                        <a:pt x="80" y="78"/>
                        <a:pt x="76" y="69"/>
                        <a:pt x="64" y="69"/>
                      </a:cubicBezTo>
                      <a:cubicBezTo>
                        <a:pt x="56" y="69"/>
                        <a:pt x="47" y="74"/>
                        <a:pt x="41" y="81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54" y="47"/>
                        <a:pt x="68" y="42"/>
                        <a:pt x="81" y="42"/>
                      </a:cubicBezTo>
                      <a:cubicBezTo>
                        <a:pt x="101" y="42"/>
                        <a:pt x="116" y="56"/>
                        <a:pt x="112" y="8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Freeform 12">
                  <a:extLst>
                    <a:ext uri="{FF2B5EF4-FFF2-40B4-BE49-F238E27FC236}">
                      <a16:creationId xmlns:a16="http://schemas.microsoft.com/office/drawing/2014/main" id="{01B5A82B-ECF4-4940-9464-D51159EEAA6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03755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5 w 115"/>
                    <a:gd name="T3" fmla="*/ 106 h 106"/>
                    <a:gd name="T4" fmla="*/ 5 w 115"/>
                    <a:gd name="T5" fmla="*/ 55 h 106"/>
                    <a:gd name="T6" fmla="*/ 70 w 115"/>
                    <a:gd name="T7" fmla="*/ 0 h 106"/>
                    <a:gd name="T8" fmla="*/ 111 w 115"/>
                    <a:gd name="T9" fmla="*/ 44 h 106"/>
                    <a:gd name="T10" fmla="*/ 106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8 w 115"/>
                    <a:gd name="T17" fmla="*/ 72 h 106"/>
                    <a:gd name="T18" fmla="*/ 106 w 115"/>
                    <a:gd name="T19" fmla="*/ 88 h 106"/>
                    <a:gd name="T20" fmla="*/ 39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9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4" y="97"/>
                        <a:pt x="76" y="106"/>
                        <a:pt x="55" y="106"/>
                      </a:cubicBezTo>
                      <a:cubicBezTo>
                        <a:pt x="21" y="106"/>
                        <a:pt x="0" y="86"/>
                        <a:pt x="5" y="55"/>
                      </a:cubicBez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6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8" y="77"/>
                        <a:pt x="98" y="72"/>
                      </a:cubicBezTo>
                      <a:lnTo>
                        <a:pt x="106" y="88"/>
                      </a:lnTo>
                      <a:close/>
                      <a:moveTo>
                        <a:pt x="39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9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" name="Freeform 13">
                  <a:extLst>
                    <a:ext uri="{FF2B5EF4-FFF2-40B4-BE49-F238E27FC236}">
                      <a16:creationId xmlns:a16="http://schemas.microsoft.com/office/drawing/2014/main" id="{1BC4C15D-A823-4DB9-BD0C-6F6A79FF697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245513" y="3365501"/>
                  <a:ext cx="144463" cy="166688"/>
                </a:xfrm>
                <a:custGeom>
                  <a:avLst/>
                  <a:gdLst>
                    <a:gd name="T0" fmla="*/ 88 w 88"/>
                    <a:gd name="T1" fmla="*/ 2 h 100"/>
                    <a:gd name="T2" fmla="*/ 84 w 88"/>
                    <a:gd name="T3" fmla="*/ 32 h 100"/>
                    <a:gd name="T4" fmla="*/ 70 w 88"/>
                    <a:gd name="T5" fmla="*/ 30 h 100"/>
                    <a:gd name="T6" fmla="*/ 40 w 88"/>
                    <a:gd name="T7" fmla="*/ 46 h 100"/>
                    <a:gd name="T8" fmla="*/ 32 w 88"/>
                    <a:gd name="T9" fmla="*/ 100 h 100"/>
                    <a:gd name="T10" fmla="*/ 0 w 88"/>
                    <a:gd name="T11" fmla="*/ 100 h 100"/>
                    <a:gd name="T12" fmla="*/ 13 w 88"/>
                    <a:gd name="T13" fmla="*/ 6 h 100"/>
                    <a:gd name="T14" fmla="*/ 45 w 88"/>
                    <a:gd name="T15" fmla="*/ 0 h 100"/>
                    <a:gd name="T16" fmla="*/ 42 w 88"/>
                    <a:gd name="T17" fmla="*/ 22 h 100"/>
                    <a:gd name="T18" fmla="*/ 77 w 88"/>
                    <a:gd name="T19" fmla="*/ 0 h 100"/>
                    <a:gd name="T20" fmla="*/ 88 w 88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" h="100">
                      <a:moveTo>
                        <a:pt x="88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4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8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" name="Freeform 14">
                  <a:extLst>
                    <a:ext uri="{FF2B5EF4-FFF2-40B4-BE49-F238E27FC236}">
                      <a16:creationId xmlns:a16="http://schemas.microsoft.com/office/drawing/2014/main" id="{158158B5-D259-4797-89FC-526093CB4B04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389975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4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" name="Freeform 15">
                  <a:extLst>
                    <a:ext uri="{FF2B5EF4-FFF2-40B4-BE49-F238E27FC236}">
                      <a16:creationId xmlns:a16="http://schemas.microsoft.com/office/drawing/2014/main" id="{B410B6E0-AD3E-45B1-A8A7-1856AF58425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678900" y="3370263"/>
                  <a:ext cx="184150" cy="228600"/>
                </a:xfrm>
                <a:custGeom>
                  <a:avLst/>
                  <a:gdLst>
                    <a:gd name="T0" fmla="*/ 116 w 116"/>
                    <a:gd name="T1" fmla="*/ 0 h 144"/>
                    <a:gd name="T2" fmla="*/ 36 w 116"/>
                    <a:gd name="T3" fmla="*/ 144 h 144"/>
                    <a:gd name="T4" fmla="*/ 4 w 116"/>
                    <a:gd name="T5" fmla="*/ 144 h 144"/>
                    <a:gd name="T6" fmla="*/ 29 w 116"/>
                    <a:gd name="T7" fmla="*/ 102 h 144"/>
                    <a:gd name="T8" fmla="*/ 0 w 116"/>
                    <a:gd name="T9" fmla="*/ 0 h 144"/>
                    <a:gd name="T10" fmla="*/ 35 w 116"/>
                    <a:gd name="T11" fmla="*/ 0 h 144"/>
                    <a:gd name="T12" fmla="*/ 51 w 116"/>
                    <a:gd name="T13" fmla="*/ 64 h 144"/>
                    <a:gd name="T14" fmla="*/ 84 w 116"/>
                    <a:gd name="T15" fmla="*/ 0 h 144"/>
                    <a:gd name="T16" fmla="*/ 116 w 116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144">
                      <a:moveTo>
                        <a:pt x="116" y="0"/>
                      </a:moveTo>
                      <a:lnTo>
                        <a:pt x="36" y="144"/>
                      </a:lnTo>
                      <a:lnTo>
                        <a:pt x="4" y="144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1" y="64"/>
                      </a:lnTo>
                      <a:lnTo>
                        <a:pt x="84" y="0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16">
                  <a:extLst>
                    <a:ext uri="{FF2B5EF4-FFF2-40B4-BE49-F238E27FC236}">
                      <a16:creationId xmlns:a16="http://schemas.microsoft.com/office/drawing/2014/main" id="{67A4ADF5-018F-4E65-AEBA-6F81AA6D6A94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85828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2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9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4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" name="Freeform 17">
                  <a:extLst>
                    <a:ext uri="{FF2B5EF4-FFF2-40B4-BE49-F238E27FC236}">
                      <a16:creationId xmlns:a16="http://schemas.microsoft.com/office/drawing/2014/main" id="{D2A47364-3209-476A-9BEC-5D009E103D6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2078950" y="3365501"/>
                  <a:ext cx="190500" cy="171450"/>
                </a:xfrm>
                <a:custGeom>
                  <a:avLst/>
                  <a:gdLst>
                    <a:gd name="T0" fmla="*/ 115 w 115"/>
                    <a:gd name="T1" fmla="*/ 0 h 103"/>
                    <a:gd name="T2" fmla="*/ 101 w 115"/>
                    <a:gd name="T3" fmla="*/ 100 h 103"/>
                    <a:gd name="T4" fmla="*/ 70 w 115"/>
                    <a:gd name="T5" fmla="*/ 100 h 103"/>
                    <a:gd name="T6" fmla="*/ 72 w 115"/>
                    <a:gd name="T7" fmla="*/ 88 h 103"/>
                    <a:gd name="T8" fmla="*/ 35 w 115"/>
                    <a:gd name="T9" fmla="*/ 103 h 103"/>
                    <a:gd name="T10" fmla="*/ 4 w 115"/>
                    <a:gd name="T11" fmla="*/ 61 h 103"/>
                    <a:gd name="T12" fmla="*/ 12 w 115"/>
                    <a:gd name="T13" fmla="*/ 6 h 103"/>
                    <a:gd name="T14" fmla="*/ 45 w 115"/>
                    <a:gd name="T15" fmla="*/ 0 h 103"/>
                    <a:gd name="T16" fmla="*/ 38 w 115"/>
                    <a:gd name="T17" fmla="*/ 51 h 103"/>
                    <a:gd name="T18" fmla="*/ 51 w 115"/>
                    <a:gd name="T19" fmla="*/ 77 h 103"/>
                    <a:gd name="T20" fmla="*/ 74 w 115"/>
                    <a:gd name="T21" fmla="*/ 66 h 103"/>
                    <a:gd name="T22" fmla="*/ 82 w 115"/>
                    <a:gd name="T23" fmla="*/ 6 h 103"/>
                    <a:gd name="T24" fmla="*/ 115 w 115"/>
                    <a:gd name="T25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" h="103">
                      <a:moveTo>
                        <a:pt x="115" y="0"/>
                      </a:moveTo>
                      <a:cubicBezTo>
                        <a:pt x="101" y="100"/>
                        <a:pt x="101" y="100"/>
                        <a:pt x="101" y="100"/>
                      </a:cubicBezTo>
                      <a:cubicBezTo>
                        <a:pt x="70" y="100"/>
                        <a:pt x="70" y="100"/>
                        <a:pt x="70" y="100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62" y="98"/>
                        <a:pt x="48" y="103"/>
                        <a:pt x="35" y="103"/>
                      </a:cubicBezTo>
                      <a:cubicBezTo>
                        <a:pt x="14" y="103"/>
                        <a:pt x="0" y="89"/>
                        <a:pt x="4" y="61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38" y="51"/>
                        <a:pt x="38" y="51"/>
                        <a:pt x="38" y="51"/>
                      </a:cubicBezTo>
                      <a:cubicBezTo>
                        <a:pt x="35" y="68"/>
                        <a:pt x="40" y="77"/>
                        <a:pt x="51" y="77"/>
                      </a:cubicBezTo>
                      <a:cubicBezTo>
                        <a:pt x="59" y="77"/>
                        <a:pt x="67" y="73"/>
                        <a:pt x="74" y="66"/>
                      </a:cubicBezTo>
                      <a:cubicBezTo>
                        <a:pt x="82" y="6"/>
                        <a:pt x="82" y="6"/>
                        <a:pt x="82" y="6"/>
                      </a:cubicBezTo>
                      <a:lnTo>
                        <a:pt x="115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" name="Freeform 18">
                  <a:extLst>
                    <a:ext uri="{FF2B5EF4-FFF2-40B4-BE49-F238E27FC236}">
                      <a16:creationId xmlns:a16="http://schemas.microsoft.com/office/drawing/2014/main" id="{C8CBCCCA-8618-4671-94B6-36AC946F708C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353588" y="3365501"/>
                  <a:ext cx="233363" cy="236538"/>
                </a:xfrm>
                <a:custGeom>
                  <a:avLst/>
                  <a:gdLst>
                    <a:gd name="T0" fmla="*/ 138 w 141"/>
                    <a:gd name="T1" fmla="*/ 30 h 143"/>
                    <a:gd name="T2" fmla="*/ 114 w 141"/>
                    <a:gd name="T3" fmla="*/ 29 h 143"/>
                    <a:gd name="T4" fmla="*/ 117 w 141"/>
                    <a:gd name="T5" fmla="*/ 47 h 143"/>
                    <a:gd name="T6" fmla="*/ 59 w 141"/>
                    <a:gd name="T7" fmla="*/ 88 h 143"/>
                    <a:gd name="T8" fmla="*/ 54 w 141"/>
                    <a:gd name="T9" fmla="*/ 88 h 143"/>
                    <a:gd name="T10" fmla="*/ 35 w 141"/>
                    <a:gd name="T11" fmla="*/ 113 h 143"/>
                    <a:gd name="T12" fmla="*/ 84 w 141"/>
                    <a:gd name="T13" fmla="*/ 98 h 143"/>
                    <a:gd name="T14" fmla="*/ 118 w 141"/>
                    <a:gd name="T15" fmla="*/ 139 h 143"/>
                    <a:gd name="T16" fmla="*/ 84 w 141"/>
                    <a:gd name="T17" fmla="*/ 143 h 143"/>
                    <a:gd name="T18" fmla="*/ 66 w 141"/>
                    <a:gd name="T19" fmla="*/ 125 h 143"/>
                    <a:gd name="T20" fmla="*/ 18 w 141"/>
                    <a:gd name="T21" fmla="*/ 139 h 143"/>
                    <a:gd name="T22" fmla="*/ 0 w 141"/>
                    <a:gd name="T23" fmla="*/ 127 h 143"/>
                    <a:gd name="T24" fmla="*/ 27 w 141"/>
                    <a:gd name="T25" fmla="*/ 79 h 143"/>
                    <a:gd name="T26" fmla="*/ 11 w 141"/>
                    <a:gd name="T27" fmla="*/ 45 h 143"/>
                    <a:gd name="T28" fmla="*/ 71 w 141"/>
                    <a:gd name="T29" fmla="*/ 0 h 143"/>
                    <a:gd name="T30" fmla="*/ 91 w 141"/>
                    <a:gd name="T31" fmla="*/ 3 h 143"/>
                    <a:gd name="T32" fmla="*/ 141 w 141"/>
                    <a:gd name="T33" fmla="*/ 3 h 143"/>
                    <a:gd name="T34" fmla="*/ 138 w 141"/>
                    <a:gd name="T35" fmla="*/ 30 h 143"/>
                    <a:gd name="T36" fmla="*/ 87 w 141"/>
                    <a:gd name="T37" fmla="*/ 45 h 143"/>
                    <a:gd name="T38" fmla="*/ 67 w 141"/>
                    <a:gd name="T39" fmla="*/ 23 h 143"/>
                    <a:gd name="T40" fmla="*/ 42 w 141"/>
                    <a:gd name="T41" fmla="*/ 44 h 143"/>
                    <a:gd name="T42" fmla="*/ 62 w 141"/>
                    <a:gd name="T43" fmla="*/ 66 h 143"/>
                    <a:gd name="T44" fmla="*/ 87 w 141"/>
                    <a:gd name="T45" fmla="*/ 45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1" h="143">
                      <a:moveTo>
                        <a:pt x="138" y="30"/>
                      </a:moveTo>
                      <a:cubicBezTo>
                        <a:pt x="114" y="29"/>
                        <a:pt x="114" y="29"/>
                        <a:pt x="114" y="29"/>
                      </a:cubicBezTo>
                      <a:cubicBezTo>
                        <a:pt x="117" y="34"/>
                        <a:pt x="118" y="40"/>
                        <a:pt x="117" y="47"/>
                      </a:cubicBezTo>
                      <a:cubicBezTo>
                        <a:pt x="114" y="70"/>
                        <a:pt x="90" y="88"/>
                        <a:pt x="59" y="88"/>
                      </a:cubicBezTo>
                      <a:cubicBezTo>
                        <a:pt x="58" y="88"/>
                        <a:pt x="56" y="88"/>
                        <a:pt x="54" y="88"/>
                      </a:cubicBezTo>
                      <a:cubicBezTo>
                        <a:pt x="35" y="113"/>
                        <a:pt x="35" y="113"/>
                        <a:pt x="35" y="113"/>
                      </a:cubicBezTo>
                      <a:cubicBezTo>
                        <a:pt x="49" y="105"/>
                        <a:pt x="67" y="98"/>
                        <a:pt x="84" y="98"/>
                      </a:cubicBezTo>
                      <a:cubicBezTo>
                        <a:pt x="102" y="98"/>
                        <a:pt x="120" y="106"/>
                        <a:pt x="118" y="139"/>
                      </a:cubicBezTo>
                      <a:cubicBezTo>
                        <a:pt x="84" y="143"/>
                        <a:pt x="84" y="143"/>
                        <a:pt x="84" y="143"/>
                      </a:cubicBezTo>
                      <a:cubicBezTo>
                        <a:pt x="84" y="128"/>
                        <a:pt x="77" y="125"/>
                        <a:pt x="66" y="125"/>
                      </a:cubicBezTo>
                      <a:cubicBezTo>
                        <a:pt x="53" y="125"/>
                        <a:pt x="34" y="130"/>
                        <a:pt x="18" y="139"/>
                      </a:cubicBezTo>
                      <a:cubicBezTo>
                        <a:pt x="0" y="127"/>
                        <a:pt x="0" y="127"/>
                        <a:pt x="0" y="127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15" y="72"/>
                        <a:pt x="9" y="59"/>
                        <a:pt x="11" y="45"/>
                      </a:cubicBezTo>
                      <a:cubicBezTo>
                        <a:pt x="15" y="21"/>
                        <a:pt x="40" y="0"/>
                        <a:pt x="71" y="0"/>
                      </a:cubicBezTo>
                      <a:cubicBezTo>
                        <a:pt x="78" y="0"/>
                        <a:pt x="85" y="1"/>
                        <a:pt x="91" y="3"/>
                      </a:cubicBezTo>
                      <a:cubicBezTo>
                        <a:pt x="141" y="3"/>
                        <a:pt x="141" y="3"/>
                        <a:pt x="141" y="3"/>
                      </a:cubicBezTo>
                      <a:lnTo>
                        <a:pt x="138" y="30"/>
                      </a:lnTo>
                      <a:close/>
                      <a:moveTo>
                        <a:pt x="87" y="45"/>
                      </a:moveTo>
                      <a:cubicBezTo>
                        <a:pt x="89" y="31"/>
                        <a:pt x="79" y="23"/>
                        <a:pt x="67" y="23"/>
                      </a:cubicBezTo>
                      <a:cubicBezTo>
                        <a:pt x="55" y="23"/>
                        <a:pt x="44" y="31"/>
                        <a:pt x="42" y="44"/>
                      </a:cubicBezTo>
                      <a:cubicBezTo>
                        <a:pt x="40" y="57"/>
                        <a:pt x="50" y="66"/>
                        <a:pt x="62" y="66"/>
                      </a:cubicBezTo>
                      <a:cubicBezTo>
                        <a:pt x="74" y="66"/>
                        <a:pt x="85" y="58"/>
                        <a:pt x="87" y="45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" name="Freeform 19">
                  <a:extLst>
                    <a:ext uri="{FF2B5EF4-FFF2-40B4-BE49-F238E27FC236}">
                      <a16:creationId xmlns:a16="http://schemas.microsoft.com/office/drawing/2014/main" id="{89188CD4-EAEA-4648-B69E-2C3575A7841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58853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1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8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3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" name="Rectangle 20">
                <a:extLst>
                  <a:ext uri="{FF2B5EF4-FFF2-40B4-BE49-F238E27FC236}">
                    <a16:creationId xmlns:a16="http://schemas.microsoft.com/office/drawing/2014/main" id="{3A615283-4DEA-4920-9079-D6AD8285B98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Rectangle 21">
                <a:extLst>
                  <a:ext uri="{FF2B5EF4-FFF2-40B4-BE49-F238E27FC236}">
                    <a16:creationId xmlns:a16="http://schemas.microsoft.com/office/drawing/2014/main" id="{006D26F6-58AC-45DD-BB38-540219FEAC0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Oval 22">
                <a:extLst>
                  <a:ext uri="{FF2B5EF4-FFF2-40B4-BE49-F238E27FC236}">
                    <a16:creationId xmlns:a16="http://schemas.microsoft.com/office/drawing/2014/main" id="{4E54BA74-5F69-401A-B197-E5C7BD8FD52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23">
                <a:extLst>
                  <a:ext uri="{FF2B5EF4-FFF2-40B4-BE49-F238E27FC236}">
                    <a16:creationId xmlns:a16="http://schemas.microsoft.com/office/drawing/2014/main" id="{698B886C-1E08-4932-91A0-8A6E662C8D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24">
                <a:extLst>
                  <a:ext uri="{FF2B5EF4-FFF2-40B4-BE49-F238E27FC236}">
                    <a16:creationId xmlns:a16="http://schemas.microsoft.com/office/drawing/2014/main" id="{79C3FFFE-802D-4EF3-BCE5-1D174F181F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25">
                <a:extLst>
                  <a:ext uri="{FF2B5EF4-FFF2-40B4-BE49-F238E27FC236}">
                    <a16:creationId xmlns:a16="http://schemas.microsoft.com/office/drawing/2014/main" id="{8225F425-8408-4210-BF92-8E53E8AF02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26">
                <a:extLst>
                  <a:ext uri="{FF2B5EF4-FFF2-40B4-BE49-F238E27FC236}">
                    <a16:creationId xmlns:a16="http://schemas.microsoft.com/office/drawing/2014/main" id="{59B225DA-3D2E-47F5-A3E3-DF57DC5811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0" name="Freeform 27">
              <a:extLst>
                <a:ext uri="{FF2B5EF4-FFF2-40B4-BE49-F238E27FC236}">
                  <a16:creationId xmlns:a16="http://schemas.microsoft.com/office/drawing/2014/main" id="{9FE68C1B-33CF-4D84-8C44-438CFBBC4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12009" y="2241539"/>
              <a:ext cx="3335482" cy="994073"/>
            </a:xfrm>
            <a:custGeom>
              <a:avLst/>
              <a:gdLst>
                <a:gd name="T0" fmla="*/ 785 w 3117"/>
                <a:gd name="T1" fmla="*/ 65 h 928"/>
                <a:gd name="T2" fmla="*/ 504 w 3117"/>
                <a:gd name="T3" fmla="*/ 556 h 928"/>
                <a:gd name="T4" fmla="*/ 132 w 3117"/>
                <a:gd name="T5" fmla="*/ 921 h 928"/>
                <a:gd name="T6" fmla="*/ 0 w 3117"/>
                <a:gd name="T7" fmla="*/ 777 h 928"/>
                <a:gd name="T8" fmla="*/ 231 w 3117"/>
                <a:gd name="T9" fmla="*/ 626 h 928"/>
                <a:gd name="T10" fmla="*/ 41 w 3117"/>
                <a:gd name="T11" fmla="*/ 65 h 928"/>
                <a:gd name="T12" fmla="*/ 276 w 3117"/>
                <a:gd name="T13" fmla="*/ 65 h 928"/>
                <a:gd name="T14" fmla="*/ 375 w 3117"/>
                <a:gd name="T15" fmla="*/ 419 h 928"/>
                <a:gd name="T16" fmla="*/ 563 w 3117"/>
                <a:gd name="T17" fmla="*/ 65 h 928"/>
                <a:gd name="T18" fmla="*/ 785 w 3117"/>
                <a:gd name="T19" fmla="*/ 65 h 928"/>
                <a:gd name="T20" fmla="*/ 1082 w 3117"/>
                <a:gd name="T21" fmla="*/ 162 h 928"/>
                <a:gd name="T22" fmla="*/ 890 w 3117"/>
                <a:gd name="T23" fmla="*/ 495 h 928"/>
                <a:gd name="T24" fmla="*/ 768 w 3117"/>
                <a:gd name="T25" fmla="*/ 412 h 928"/>
                <a:gd name="T26" fmla="*/ 867 w 3117"/>
                <a:gd name="T27" fmla="*/ 162 h 928"/>
                <a:gd name="T28" fmla="*/ 885 w 3117"/>
                <a:gd name="T29" fmla="*/ 67 h 928"/>
                <a:gd name="T30" fmla="*/ 1098 w 3117"/>
                <a:gd name="T31" fmla="*/ 67 h 928"/>
                <a:gd name="T32" fmla="*/ 1082 w 3117"/>
                <a:gd name="T33" fmla="*/ 162 h 928"/>
                <a:gd name="T34" fmla="*/ 1642 w 3117"/>
                <a:gd name="T35" fmla="*/ 654 h 928"/>
                <a:gd name="T36" fmla="*/ 1220 w 3117"/>
                <a:gd name="T37" fmla="*/ 654 h 928"/>
                <a:gd name="T38" fmla="*/ 1373 w 3117"/>
                <a:gd name="T39" fmla="*/ 759 h 928"/>
                <a:gd name="T40" fmla="*/ 1583 w 3117"/>
                <a:gd name="T41" fmla="*/ 707 h 928"/>
                <a:gd name="T42" fmla="*/ 1646 w 3117"/>
                <a:gd name="T43" fmla="*/ 824 h 928"/>
                <a:gd name="T44" fmla="*/ 1329 w 3117"/>
                <a:gd name="T45" fmla="*/ 928 h 928"/>
                <a:gd name="T46" fmla="*/ 1001 w 3117"/>
                <a:gd name="T47" fmla="*/ 636 h 928"/>
                <a:gd name="T48" fmla="*/ 1406 w 3117"/>
                <a:gd name="T49" fmla="*/ 260 h 928"/>
                <a:gd name="T50" fmla="*/ 1685 w 3117"/>
                <a:gd name="T51" fmla="*/ 497 h 928"/>
                <a:gd name="T52" fmla="*/ 1642 w 3117"/>
                <a:gd name="T53" fmla="*/ 654 h 928"/>
                <a:gd name="T54" fmla="*/ 1496 w 3117"/>
                <a:gd name="T55" fmla="*/ 500 h 928"/>
                <a:gd name="T56" fmla="*/ 1390 w 3117"/>
                <a:gd name="T57" fmla="*/ 407 h 928"/>
                <a:gd name="T58" fmla="*/ 1239 w 3117"/>
                <a:gd name="T59" fmla="*/ 510 h 928"/>
                <a:gd name="T60" fmla="*/ 1496 w 3117"/>
                <a:gd name="T61" fmla="*/ 510 h 928"/>
                <a:gd name="T62" fmla="*/ 1496 w 3117"/>
                <a:gd name="T63" fmla="*/ 500 h 928"/>
                <a:gd name="T64" fmla="*/ 2094 w 3117"/>
                <a:gd name="T65" fmla="*/ 0 h 928"/>
                <a:gd name="T66" fmla="*/ 1934 w 3117"/>
                <a:gd name="T67" fmla="*/ 900 h 928"/>
                <a:gd name="T68" fmla="*/ 1715 w 3117"/>
                <a:gd name="T69" fmla="*/ 900 h 928"/>
                <a:gd name="T70" fmla="*/ 1866 w 3117"/>
                <a:gd name="T71" fmla="*/ 44 h 928"/>
                <a:gd name="T72" fmla="*/ 2094 w 3117"/>
                <a:gd name="T73" fmla="*/ 0 h 928"/>
                <a:gd name="T74" fmla="*/ 2416 w 3117"/>
                <a:gd name="T75" fmla="*/ 0 h 928"/>
                <a:gd name="T76" fmla="*/ 2256 w 3117"/>
                <a:gd name="T77" fmla="*/ 900 h 928"/>
                <a:gd name="T78" fmla="*/ 2038 w 3117"/>
                <a:gd name="T79" fmla="*/ 900 h 928"/>
                <a:gd name="T80" fmla="*/ 2189 w 3117"/>
                <a:gd name="T81" fmla="*/ 44 h 928"/>
                <a:gd name="T82" fmla="*/ 2416 w 3117"/>
                <a:gd name="T83" fmla="*/ 0 h 928"/>
                <a:gd name="T84" fmla="*/ 3117 w 3117"/>
                <a:gd name="T85" fmla="*/ 552 h 928"/>
                <a:gd name="T86" fmla="*/ 2709 w 3117"/>
                <a:gd name="T87" fmla="*/ 928 h 928"/>
                <a:gd name="T88" fmla="*/ 2384 w 3117"/>
                <a:gd name="T89" fmla="*/ 633 h 928"/>
                <a:gd name="T90" fmla="*/ 2792 w 3117"/>
                <a:gd name="T91" fmla="*/ 260 h 928"/>
                <a:gd name="T92" fmla="*/ 3117 w 3117"/>
                <a:gd name="T93" fmla="*/ 552 h 928"/>
                <a:gd name="T94" fmla="*/ 2888 w 3117"/>
                <a:gd name="T95" fmla="*/ 556 h 928"/>
                <a:gd name="T96" fmla="*/ 2778 w 3117"/>
                <a:gd name="T97" fmla="*/ 421 h 928"/>
                <a:gd name="T98" fmla="*/ 2613 w 3117"/>
                <a:gd name="T99" fmla="*/ 628 h 928"/>
                <a:gd name="T100" fmla="*/ 2721 w 3117"/>
                <a:gd name="T101" fmla="*/ 764 h 928"/>
                <a:gd name="T102" fmla="*/ 2888 w 3117"/>
                <a:gd name="T103" fmla="*/ 556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17" h="928">
                  <a:moveTo>
                    <a:pt x="785" y="65"/>
                  </a:moveTo>
                  <a:cubicBezTo>
                    <a:pt x="504" y="556"/>
                    <a:pt x="504" y="556"/>
                    <a:pt x="504" y="556"/>
                  </a:cubicBezTo>
                  <a:cubicBezTo>
                    <a:pt x="398" y="742"/>
                    <a:pt x="306" y="833"/>
                    <a:pt x="132" y="921"/>
                  </a:cubicBezTo>
                  <a:cubicBezTo>
                    <a:pt x="0" y="777"/>
                    <a:pt x="0" y="777"/>
                    <a:pt x="0" y="777"/>
                  </a:cubicBezTo>
                  <a:cubicBezTo>
                    <a:pt x="80" y="744"/>
                    <a:pt x="164" y="690"/>
                    <a:pt x="231" y="626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276" y="65"/>
                    <a:pt x="276" y="65"/>
                    <a:pt x="276" y="65"/>
                  </a:cubicBezTo>
                  <a:cubicBezTo>
                    <a:pt x="375" y="419"/>
                    <a:pt x="375" y="419"/>
                    <a:pt x="375" y="419"/>
                  </a:cubicBezTo>
                  <a:cubicBezTo>
                    <a:pt x="563" y="65"/>
                    <a:pt x="563" y="65"/>
                    <a:pt x="563" y="65"/>
                  </a:cubicBezTo>
                  <a:lnTo>
                    <a:pt x="785" y="65"/>
                  </a:lnTo>
                  <a:close/>
                  <a:moveTo>
                    <a:pt x="1082" y="162"/>
                  </a:moveTo>
                  <a:cubicBezTo>
                    <a:pt x="1057" y="311"/>
                    <a:pt x="977" y="423"/>
                    <a:pt x="890" y="495"/>
                  </a:cubicBezTo>
                  <a:cubicBezTo>
                    <a:pt x="768" y="412"/>
                    <a:pt x="768" y="412"/>
                    <a:pt x="768" y="412"/>
                  </a:cubicBezTo>
                  <a:cubicBezTo>
                    <a:pt x="790" y="382"/>
                    <a:pt x="839" y="313"/>
                    <a:pt x="867" y="162"/>
                  </a:cubicBezTo>
                  <a:cubicBezTo>
                    <a:pt x="885" y="67"/>
                    <a:pt x="885" y="67"/>
                    <a:pt x="885" y="67"/>
                  </a:cubicBezTo>
                  <a:cubicBezTo>
                    <a:pt x="1098" y="67"/>
                    <a:pt x="1098" y="67"/>
                    <a:pt x="1098" y="67"/>
                  </a:cubicBezTo>
                  <a:lnTo>
                    <a:pt x="1082" y="162"/>
                  </a:lnTo>
                  <a:close/>
                  <a:moveTo>
                    <a:pt x="1642" y="654"/>
                  </a:moveTo>
                  <a:cubicBezTo>
                    <a:pt x="1220" y="654"/>
                    <a:pt x="1220" y="654"/>
                    <a:pt x="1220" y="654"/>
                  </a:cubicBezTo>
                  <a:cubicBezTo>
                    <a:pt x="1233" y="722"/>
                    <a:pt x="1279" y="759"/>
                    <a:pt x="1373" y="759"/>
                  </a:cubicBezTo>
                  <a:cubicBezTo>
                    <a:pt x="1445" y="759"/>
                    <a:pt x="1526" y="737"/>
                    <a:pt x="1583" y="707"/>
                  </a:cubicBezTo>
                  <a:cubicBezTo>
                    <a:pt x="1646" y="824"/>
                    <a:pt x="1646" y="824"/>
                    <a:pt x="1646" y="824"/>
                  </a:cubicBezTo>
                  <a:cubicBezTo>
                    <a:pt x="1566" y="882"/>
                    <a:pt x="1451" y="928"/>
                    <a:pt x="1329" y="928"/>
                  </a:cubicBezTo>
                  <a:cubicBezTo>
                    <a:pt x="1134" y="928"/>
                    <a:pt x="1001" y="812"/>
                    <a:pt x="1001" y="636"/>
                  </a:cubicBezTo>
                  <a:cubicBezTo>
                    <a:pt x="1001" y="430"/>
                    <a:pt x="1185" y="260"/>
                    <a:pt x="1406" y="260"/>
                  </a:cubicBezTo>
                  <a:cubicBezTo>
                    <a:pt x="1573" y="260"/>
                    <a:pt x="1685" y="358"/>
                    <a:pt x="1685" y="497"/>
                  </a:cubicBezTo>
                  <a:cubicBezTo>
                    <a:pt x="1685" y="560"/>
                    <a:pt x="1663" y="614"/>
                    <a:pt x="1642" y="654"/>
                  </a:cubicBezTo>
                  <a:close/>
                  <a:moveTo>
                    <a:pt x="1496" y="500"/>
                  </a:moveTo>
                  <a:cubicBezTo>
                    <a:pt x="1496" y="444"/>
                    <a:pt x="1454" y="407"/>
                    <a:pt x="1390" y="407"/>
                  </a:cubicBezTo>
                  <a:cubicBezTo>
                    <a:pt x="1323" y="407"/>
                    <a:pt x="1267" y="447"/>
                    <a:pt x="1239" y="510"/>
                  </a:cubicBezTo>
                  <a:cubicBezTo>
                    <a:pt x="1496" y="510"/>
                    <a:pt x="1496" y="510"/>
                    <a:pt x="1496" y="510"/>
                  </a:cubicBezTo>
                  <a:lnTo>
                    <a:pt x="1496" y="500"/>
                  </a:lnTo>
                  <a:close/>
                  <a:moveTo>
                    <a:pt x="2094" y="0"/>
                  </a:moveTo>
                  <a:cubicBezTo>
                    <a:pt x="1934" y="900"/>
                    <a:pt x="1934" y="900"/>
                    <a:pt x="1934" y="900"/>
                  </a:cubicBezTo>
                  <a:cubicBezTo>
                    <a:pt x="1715" y="900"/>
                    <a:pt x="1715" y="900"/>
                    <a:pt x="1715" y="900"/>
                  </a:cubicBezTo>
                  <a:cubicBezTo>
                    <a:pt x="1866" y="44"/>
                    <a:pt x="1866" y="44"/>
                    <a:pt x="1866" y="44"/>
                  </a:cubicBezTo>
                  <a:lnTo>
                    <a:pt x="2094" y="0"/>
                  </a:lnTo>
                  <a:close/>
                  <a:moveTo>
                    <a:pt x="2416" y="0"/>
                  </a:moveTo>
                  <a:cubicBezTo>
                    <a:pt x="2256" y="900"/>
                    <a:pt x="2256" y="900"/>
                    <a:pt x="2256" y="900"/>
                  </a:cubicBezTo>
                  <a:cubicBezTo>
                    <a:pt x="2038" y="900"/>
                    <a:pt x="2038" y="900"/>
                    <a:pt x="2038" y="900"/>
                  </a:cubicBezTo>
                  <a:cubicBezTo>
                    <a:pt x="2189" y="44"/>
                    <a:pt x="2189" y="44"/>
                    <a:pt x="2189" y="44"/>
                  </a:cubicBezTo>
                  <a:lnTo>
                    <a:pt x="2416" y="0"/>
                  </a:lnTo>
                  <a:close/>
                  <a:moveTo>
                    <a:pt x="3117" y="552"/>
                  </a:moveTo>
                  <a:cubicBezTo>
                    <a:pt x="3117" y="751"/>
                    <a:pt x="2943" y="928"/>
                    <a:pt x="2709" y="928"/>
                  </a:cubicBezTo>
                  <a:cubicBezTo>
                    <a:pt x="2518" y="928"/>
                    <a:pt x="2384" y="807"/>
                    <a:pt x="2384" y="633"/>
                  </a:cubicBezTo>
                  <a:cubicBezTo>
                    <a:pt x="2384" y="437"/>
                    <a:pt x="2556" y="260"/>
                    <a:pt x="2792" y="260"/>
                  </a:cubicBezTo>
                  <a:cubicBezTo>
                    <a:pt x="2986" y="260"/>
                    <a:pt x="3117" y="382"/>
                    <a:pt x="3117" y="552"/>
                  </a:cubicBezTo>
                  <a:close/>
                  <a:moveTo>
                    <a:pt x="2888" y="556"/>
                  </a:moveTo>
                  <a:cubicBezTo>
                    <a:pt x="2888" y="467"/>
                    <a:pt x="2851" y="421"/>
                    <a:pt x="2778" y="421"/>
                  </a:cubicBezTo>
                  <a:cubicBezTo>
                    <a:pt x="2679" y="421"/>
                    <a:pt x="2613" y="510"/>
                    <a:pt x="2613" y="628"/>
                  </a:cubicBezTo>
                  <a:cubicBezTo>
                    <a:pt x="2613" y="717"/>
                    <a:pt x="2650" y="764"/>
                    <a:pt x="2721" y="764"/>
                  </a:cubicBezTo>
                  <a:cubicBezTo>
                    <a:pt x="2820" y="764"/>
                    <a:pt x="2888" y="675"/>
                    <a:pt x="2888" y="5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33A17F3B-F9A1-4F45-9C93-990265FF45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0453" y="3429451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018E7DB5-3E32-4FF6-826A-E2137B5B3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1205" y="4548111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1690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B6C32F1-3798-4C22-A9E4-1BB7CC1F7C95}"/>
              </a:ext>
            </a:extLst>
          </p:cNvPr>
          <p:cNvGrpSpPr/>
          <p:nvPr userDrawn="1"/>
        </p:nvGrpSpPr>
        <p:grpSpPr>
          <a:xfrm>
            <a:off x="1" y="677021"/>
            <a:ext cx="11798299" cy="5784424"/>
            <a:chOff x="1" y="677021"/>
            <a:chExt cx="11798299" cy="5784424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3D1ECF9-EFC7-4370-9E19-BB602F693EB2}"/>
                </a:ext>
              </a:extLst>
            </p:cNvPr>
            <p:cNvSpPr/>
            <p:nvPr userDrawn="1"/>
          </p:nvSpPr>
          <p:spPr>
            <a:xfrm>
              <a:off x="1" y="677021"/>
              <a:ext cx="6668655" cy="5490104"/>
            </a:xfrm>
            <a:custGeom>
              <a:avLst/>
              <a:gdLst>
                <a:gd name="connsiteX0" fmla="*/ 0 w 6668655"/>
                <a:gd name="connsiteY0" fmla="*/ 0 h 5490104"/>
                <a:gd name="connsiteX1" fmla="*/ 560043 w 6668655"/>
                <a:gd name="connsiteY1" fmla="*/ 11421 h 5490104"/>
                <a:gd name="connsiteX2" fmla="*/ 6668655 w 6668655"/>
                <a:gd name="connsiteY2" fmla="*/ 2745052 h 5490104"/>
                <a:gd name="connsiteX3" fmla="*/ 560043 w 6668655"/>
                <a:gd name="connsiteY3" fmla="*/ 5478684 h 5490104"/>
                <a:gd name="connsiteX4" fmla="*/ 0 w 6668655"/>
                <a:gd name="connsiteY4" fmla="*/ 5490104 h 54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8655" h="5490104">
                  <a:moveTo>
                    <a:pt x="0" y="0"/>
                  </a:moveTo>
                  <a:lnTo>
                    <a:pt x="560043" y="11421"/>
                  </a:lnTo>
                  <a:cubicBezTo>
                    <a:pt x="3991160" y="152137"/>
                    <a:pt x="6668655" y="1322323"/>
                    <a:pt x="6668655" y="2745052"/>
                  </a:cubicBezTo>
                  <a:cubicBezTo>
                    <a:pt x="6668655" y="4167782"/>
                    <a:pt x="3991160" y="5337968"/>
                    <a:pt x="560043" y="5478684"/>
                  </a:cubicBezTo>
                  <a:lnTo>
                    <a:pt x="0" y="54901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18192FF-B8DE-4F9E-8766-C4797B78B91E}"/>
                </a:ext>
              </a:extLst>
            </p:cNvPr>
            <p:cNvGrpSpPr/>
            <p:nvPr userDrawn="1"/>
          </p:nvGrpSpPr>
          <p:grpSpPr>
            <a:xfrm>
              <a:off x="7813964" y="5310073"/>
              <a:ext cx="3984336" cy="1151372"/>
              <a:chOff x="7813964" y="5310073"/>
              <a:chExt cx="3984336" cy="1151372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E9E0ACF1-83CB-4953-9559-E674398E8FAD}"/>
                  </a:ext>
                </a:extLst>
              </p:cNvPr>
              <p:cNvGrpSpPr/>
              <p:nvPr userDrawn="1"/>
            </p:nvGrpSpPr>
            <p:grpSpPr>
              <a:xfrm>
                <a:off x="7813964" y="5788335"/>
                <a:ext cx="2358245" cy="226732"/>
                <a:chOff x="19621500" y="3297238"/>
                <a:chExt cx="3170238" cy="304801"/>
              </a:xfrm>
            </p:grpSpPr>
            <p:sp>
              <p:nvSpPr>
                <p:cNvPr id="18" name="Freeform 5">
                  <a:extLst>
                    <a:ext uri="{FF2B5EF4-FFF2-40B4-BE49-F238E27FC236}">
                      <a16:creationId xmlns:a16="http://schemas.microsoft.com/office/drawing/2014/main" id="{CE0F8FF4-3318-49EE-A53D-24C6E3B583EC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962150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" name="Freeform 6">
                  <a:extLst>
                    <a:ext uri="{FF2B5EF4-FFF2-40B4-BE49-F238E27FC236}">
                      <a16:creationId xmlns:a16="http://schemas.microsoft.com/office/drawing/2014/main" id="{D1E26059-E048-4E76-A632-F815C8DE57F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9829463" y="3370263"/>
                  <a:ext cx="190500" cy="161925"/>
                </a:xfrm>
                <a:custGeom>
                  <a:avLst/>
                  <a:gdLst>
                    <a:gd name="T0" fmla="*/ 120 w 120"/>
                    <a:gd name="T1" fmla="*/ 0 h 102"/>
                    <a:gd name="T2" fmla="*/ 62 w 120"/>
                    <a:gd name="T3" fmla="*/ 102 h 102"/>
                    <a:gd name="T4" fmla="*/ 29 w 120"/>
                    <a:gd name="T5" fmla="*/ 102 h 102"/>
                    <a:gd name="T6" fmla="*/ 0 w 120"/>
                    <a:gd name="T7" fmla="*/ 0 h 102"/>
                    <a:gd name="T8" fmla="*/ 35 w 120"/>
                    <a:gd name="T9" fmla="*/ 0 h 102"/>
                    <a:gd name="T10" fmla="*/ 52 w 120"/>
                    <a:gd name="T11" fmla="*/ 67 h 102"/>
                    <a:gd name="T12" fmla="*/ 87 w 120"/>
                    <a:gd name="T13" fmla="*/ 0 h 102"/>
                    <a:gd name="T14" fmla="*/ 120 w 120"/>
                    <a:gd name="T1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0" h="102">
                      <a:moveTo>
                        <a:pt x="120" y="0"/>
                      </a:moveTo>
                      <a:lnTo>
                        <a:pt x="62" y="102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2" y="67"/>
                      </a:lnTo>
                      <a:lnTo>
                        <a:pt x="87" y="0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" name="Freeform 7">
                  <a:extLst>
                    <a:ext uri="{FF2B5EF4-FFF2-40B4-BE49-F238E27FC236}">
                      <a16:creationId xmlns:a16="http://schemas.microsoft.com/office/drawing/2014/main" id="{CDC3F5C6-DC61-4357-911D-C0D2D972F45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0013613" y="3363913"/>
                  <a:ext cx="188913" cy="176213"/>
                </a:xfrm>
                <a:custGeom>
                  <a:avLst/>
                  <a:gdLst>
                    <a:gd name="T0" fmla="*/ 106 w 114"/>
                    <a:gd name="T1" fmla="*/ 88 h 106"/>
                    <a:gd name="T2" fmla="*/ 54 w 114"/>
                    <a:gd name="T3" fmla="*/ 106 h 106"/>
                    <a:gd name="T4" fmla="*/ 4 w 114"/>
                    <a:gd name="T5" fmla="*/ 55 h 106"/>
                    <a:gd name="T6" fmla="*/ 69 w 114"/>
                    <a:gd name="T7" fmla="*/ 0 h 106"/>
                    <a:gd name="T8" fmla="*/ 111 w 114"/>
                    <a:gd name="T9" fmla="*/ 44 h 106"/>
                    <a:gd name="T10" fmla="*/ 105 w 114"/>
                    <a:gd name="T11" fmla="*/ 61 h 106"/>
                    <a:gd name="T12" fmla="*/ 35 w 114"/>
                    <a:gd name="T13" fmla="*/ 61 h 106"/>
                    <a:gd name="T14" fmla="*/ 64 w 114"/>
                    <a:gd name="T15" fmla="*/ 81 h 106"/>
                    <a:gd name="T16" fmla="*/ 97 w 114"/>
                    <a:gd name="T17" fmla="*/ 72 h 106"/>
                    <a:gd name="T18" fmla="*/ 106 w 114"/>
                    <a:gd name="T19" fmla="*/ 88 h 106"/>
                    <a:gd name="T20" fmla="*/ 38 w 114"/>
                    <a:gd name="T21" fmla="*/ 40 h 106"/>
                    <a:gd name="T22" fmla="*/ 83 w 114"/>
                    <a:gd name="T23" fmla="*/ 40 h 106"/>
                    <a:gd name="T24" fmla="*/ 66 w 114"/>
                    <a:gd name="T25" fmla="*/ 22 h 106"/>
                    <a:gd name="T26" fmla="*/ 38 w 114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4" y="18"/>
                        <a:pt x="111" y="44"/>
                      </a:cubicBezTo>
                      <a:cubicBezTo>
                        <a:pt x="110" y="51"/>
                        <a:pt x="107" y="57"/>
                        <a:pt x="105" y="61"/>
                      </a:cubicBezTo>
                      <a:cubicBezTo>
                        <a:pt x="35" y="61"/>
                        <a:pt x="35" y="61"/>
                        <a:pt x="35" y="61"/>
                      </a:cubicBezTo>
                      <a:cubicBezTo>
                        <a:pt x="37" y="74"/>
                        <a:pt x="47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3" y="40"/>
                        <a:pt x="83" y="40"/>
                        <a:pt x="83" y="40"/>
                      </a:cubicBezTo>
                      <a:cubicBezTo>
                        <a:pt x="84" y="29"/>
                        <a:pt x="77" y="22"/>
                        <a:pt x="66" y="22"/>
                      </a:cubicBezTo>
                      <a:cubicBezTo>
                        <a:pt x="55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" name="Freeform 8">
                  <a:extLst>
                    <a:ext uri="{FF2B5EF4-FFF2-40B4-BE49-F238E27FC236}">
                      <a16:creationId xmlns:a16="http://schemas.microsoft.com/office/drawing/2014/main" id="{B401902C-6257-49E1-AF9C-456C1ACC814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219988" y="3365501"/>
                  <a:ext cx="146050" cy="166688"/>
                </a:xfrm>
                <a:custGeom>
                  <a:avLst/>
                  <a:gdLst>
                    <a:gd name="T0" fmla="*/ 89 w 89"/>
                    <a:gd name="T1" fmla="*/ 2 h 100"/>
                    <a:gd name="T2" fmla="*/ 84 w 89"/>
                    <a:gd name="T3" fmla="*/ 32 h 100"/>
                    <a:gd name="T4" fmla="*/ 70 w 89"/>
                    <a:gd name="T5" fmla="*/ 30 h 100"/>
                    <a:gd name="T6" fmla="*/ 40 w 89"/>
                    <a:gd name="T7" fmla="*/ 46 h 100"/>
                    <a:gd name="T8" fmla="*/ 32 w 89"/>
                    <a:gd name="T9" fmla="*/ 100 h 100"/>
                    <a:gd name="T10" fmla="*/ 0 w 89"/>
                    <a:gd name="T11" fmla="*/ 100 h 100"/>
                    <a:gd name="T12" fmla="*/ 14 w 89"/>
                    <a:gd name="T13" fmla="*/ 6 h 100"/>
                    <a:gd name="T14" fmla="*/ 45 w 89"/>
                    <a:gd name="T15" fmla="*/ 0 h 100"/>
                    <a:gd name="T16" fmla="*/ 42 w 89"/>
                    <a:gd name="T17" fmla="*/ 22 h 100"/>
                    <a:gd name="T18" fmla="*/ 77 w 89"/>
                    <a:gd name="T19" fmla="*/ 0 h 100"/>
                    <a:gd name="T20" fmla="*/ 89 w 89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9" h="100">
                      <a:moveTo>
                        <a:pt x="89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5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9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" name="Freeform 9">
                  <a:extLst>
                    <a:ext uri="{FF2B5EF4-FFF2-40B4-BE49-F238E27FC236}">
                      <a16:creationId xmlns:a16="http://schemas.microsoft.com/office/drawing/2014/main" id="{C2673B5E-8F1C-457F-B0CA-EC3E1DB7718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369213" y="3370263"/>
                  <a:ext cx="187325" cy="228600"/>
                </a:xfrm>
                <a:custGeom>
                  <a:avLst/>
                  <a:gdLst>
                    <a:gd name="T0" fmla="*/ 118 w 118"/>
                    <a:gd name="T1" fmla="*/ 0 h 144"/>
                    <a:gd name="T2" fmla="*/ 38 w 118"/>
                    <a:gd name="T3" fmla="*/ 144 h 144"/>
                    <a:gd name="T4" fmla="*/ 5 w 118"/>
                    <a:gd name="T5" fmla="*/ 144 h 144"/>
                    <a:gd name="T6" fmla="*/ 31 w 118"/>
                    <a:gd name="T7" fmla="*/ 102 h 144"/>
                    <a:gd name="T8" fmla="*/ 0 w 118"/>
                    <a:gd name="T9" fmla="*/ 0 h 144"/>
                    <a:gd name="T10" fmla="*/ 37 w 118"/>
                    <a:gd name="T11" fmla="*/ 0 h 144"/>
                    <a:gd name="T12" fmla="*/ 53 w 118"/>
                    <a:gd name="T13" fmla="*/ 64 h 144"/>
                    <a:gd name="T14" fmla="*/ 86 w 118"/>
                    <a:gd name="T15" fmla="*/ 0 h 144"/>
                    <a:gd name="T16" fmla="*/ 118 w 118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8" h="144">
                      <a:moveTo>
                        <a:pt x="118" y="0"/>
                      </a:moveTo>
                      <a:lnTo>
                        <a:pt x="38" y="144"/>
                      </a:lnTo>
                      <a:lnTo>
                        <a:pt x="5" y="144"/>
                      </a:lnTo>
                      <a:lnTo>
                        <a:pt x="31" y="102"/>
                      </a:lnTo>
                      <a:lnTo>
                        <a:pt x="0" y="0"/>
                      </a:lnTo>
                      <a:lnTo>
                        <a:pt x="37" y="0"/>
                      </a:lnTo>
                      <a:lnTo>
                        <a:pt x="53" y="64"/>
                      </a:lnTo>
                      <a:lnTo>
                        <a:pt x="86" y="0"/>
                      </a:lnTo>
                      <a:lnTo>
                        <a:pt x="11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" name="Freeform 10">
                  <a:extLst>
                    <a:ext uri="{FF2B5EF4-FFF2-40B4-BE49-F238E27FC236}">
                      <a16:creationId xmlns:a16="http://schemas.microsoft.com/office/drawing/2014/main" id="{3A11E9B1-3686-4CF7-97F7-50CA2499CF5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561300" y="3370263"/>
                  <a:ext cx="266700" cy="161925"/>
                </a:xfrm>
                <a:custGeom>
                  <a:avLst/>
                  <a:gdLst>
                    <a:gd name="T0" fmla="*/ 168 w 168"/>
                    <a:gd name="T1" fmla="*/ 0 h 102"/>
                    <a:gd name="T2" fmla="*/ 119 w 168"/>
                    <a:gd name="T3" fmla="*/ 102 h 102"/>
                    <a:gd name="T4" fmla="*/ 88 w 168"/>
                    <a:gd name="T5" fmla="*/ 102 h 102"/>
                    <a:gd name="T6" fmla="*/ 76 w 168"/>
                    <a:gd name="T7" fmla="*/ 45 h 102"/>
                    <a:gd name="T8" fmla="*/ 52 w 168"/>
                    <a:gd name="T9" fmla="*/ 102 h 102"/>
                    <a:gd name="T10" fmla="*/ 20 w 168"/>
                    <a:gd name="T11" fmla="*/ 102 h 102"/>
                    <a:gd name="T12" fmla="*/ 0 w 168"/>
                    <a:gd name="T13" fmla="*/ 0 h 102"/>
                    <a:gd name="T14" fmla="*/ 34 w 168"/>
                    <a:gd name="T15" fmla="*/ 0 h 102"/>
                    <a:gd name="T16" fmla="*/ 43 w 168"/>
                    <a:gd name="T17" fmla="*/ 67 h 102"/>
                    <a:gd name="T18" fmla="*/ 70 w 168"/>
                    <a:gd name="T19" fmla="*/ 0 h 102"/>
                    <a:gd name="T20" fmla="*/ 100 w 168"/>
                    <a:gd name="T21" fmla="*/ 0 h 102"/>
                    <a:gd name="T22" fmla="*/ 111 w 168"/>
                    <a:gd name="T23" fmla="*/ 67 h 102"/>
                    <a:gd name="T24" fmla="*/ 137 w 168"/>
                    <a:gd name="T25" fmla="*/ 0 h 102"/>
                    <a:gd name="T26" fmla="*/ 168 w 168"/>
                    <a:gd name="T2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102">
                      <a:moveTo>
                        <a:pt x="168" y="0"/>
                      </a:moveTo>
                      <a:lnTo>
                        <a:pt x="119" y="102"/>
                      </a:lnTo>
                      <a:lnTo>
                        <a:pt x="88" y="102"/>
                      </a:lnTo>
                      <a:lnTo>
                        <a:pt x="76" y="45"/>
                      </a:lnTo>
                      <a:lnTo>
                        <a:pt x="52" y="102"/>
                      </a:lnTo>
                      <a:lnTo>
                        <a:pt x="20" y="102"/>
                      </a:ln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43" y="67"/>
                      </a:lnTo>
                      <a:lnTo>
                        <a:pt x="70" y="0"/>
                      </a:lnTo>
                      <a:lnTo>
                        <a:pt x="100" y="0"/>
                      </a:lnTo>
                      <a:lnTo>
                        <a:pt x="111" y="67"/>
                      </a:lnTo>
                      <a:lnTo>
                        <a:pt x="137" y="0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" name="Freeform 11">
                  <a:extLst>
                    <a:ext uri="{FF2B5EF4-FFF2-40B4-BE49-F238E27FC236}">
                      <a16:creationId xmlns:a16="http://schemas.microsoft.com/office/drawing/2014/main" id="{513B4A26-C665-4F5A-A349-CD62D34B5E6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831175" y="3297238"/>
                  <a:ext cx="192088" cy="234950"/>
                </a:xfrm>
                <a:custGeom>
                  <a:avLst/>
                  <a:gdLst>
                    <a:gd name="T0" fmla="*/ 112 w 116"/>
                    <a:gd name="T1" fmla="*/ 84 h 142"/>
                    <a:gd name="T2" fmla="*/ 103 w 116"/>
                    <a:gd name="T3" fmla="*/ 142 h 142"/>
                    <a:gd name="T4" fmla="*/ 71 w 116"/>
                    <a:gd name="T5" fmla="*/ 142 h 142"/>
                    <a:gd name="T6" fmla="*/ 78 w 116"/>
                    <a:gd name="T7" fmla="*/ 94 h 142"/>
                    <a:gd name="T8" fmla="*/ 64 w 116"/>
                    <a:gd name="T9" fmla="*/ 69 h 142"/>
                    <a:gd name="T10" fmla="*/ 41 w 116"/>
                    <a:gd name="T11" fmla="*/ 81 h 142"/>
                    <a:gd name="T12" fmla="*/ 32 w 116"/>
                    <a:gd name="T13" fmla="*/ 142 h 142"/>
                    <a:gd name="T14" fmla="*/ 0 w 116"/>
                    <a:gd name="T15" fmla="*/ 142 h 142"/>
                    <a:gd name="T16" fmla="*/ 19 w 116"/>
                    <a:gd name="T17" fmla="*/ 6 h 142"/>
                    <a:gd name="T18" fmla="*/ 52 w 116"/>
                    <a:gd name="T19" fmla="*/ 0 h 142"/>
                    <a:gd name="T20" fmla="*/ 44 w 116"/>
                    <a:gd name="T21" fmla="*/ 57 h 142"/>
                    <a:gd name="T22" fmla="*/ 81 w 116"/>
                    <a:gd name="T23" fmla="*/ 42 h 142"/>
                    <a:gd name="T24" fmla="*/ 112 w 116"/>
                    <a:gd name="T25" fmla="*/ 84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6" h="142">
                      <a:moveTo>
                        <a:pt x="112" y="84"/>
                      </a:moveTo>
                      <a:cubicBezTo>
                        <a:pt x="103" y="142"/>
                        <a:pt x="103" y="142"/>
                        <a:pt x="103" y="142"/>
                      </a:cubicBezTo>
                      <a:cubicBezTo>
                        <a:pt x="71" y="142"/>
                        <a:pt x="71" y="142"/>
                        <a:pt x="71" y="142"/>
                      </a:cubicBezTo>
                      <a:cubicBezTo>
                        <a:pt x="78" y="94"/>
                        <a:pt x="78" y="94"/>
                        <a:pt x="78" y="94"/>
                      </a:cubicBezTo>
                      <a:cubicBezTo>
                        <a:pt x="80" y="78"/>
                        <a:pt x="76" y="69"/>
                        <a:pt x="64" y="69"/>
                      </a:cubicBezTo>
                      <a:cubicBezTo>
                        <a:pt x="56" y="69"/>
                        <a:pt x="47" y="74"/>
                        <a:pt x="41" y="81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54" y="47"/>
                        <a:pt x="68" y="42"/>
                        <a:pt x="81" y="42"/>
                      </a:cubicBezTo>
                      <a:cubicBezTo>
                        <a:pt x="101" y="42"/>
                        <a:pt x="116" y="56"/>
                        <a:pt x="112" y="8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" name="Freeform 12">
                  <a:extLst>
                    <a:ext uri="{FF2B5EF4-FFF2-40B4-BE49-F238E27FC236}">
                      <a16:creationId xmlns:a16="http://schemas.microsoft.com/office/drawing/2014/main" id="{9DF60469-FDD0-43E0-B2FC-5BA3A2EEABA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03755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5 w 115"/>
                    <a:gd name="T3" fmla="*/ 106 h 106"/>
                    <a:gd name="T4" fmla="*/ 5 w 115"/>
                    <a:gd name="T5" fmla="*/ 55 h 106"/>
                    <a:gd name="T6" fmla="*/ 70 w 115"/>
                    <a:gd name="T7" fmla="*/ 0 h 106"/>
                    <a:gd name="T8" fmla="*/ 111 w 115"/>
                    <a:gd name="T9" fmla="*/ 44 h 106"/>
                    <a:gd name="T10" fmla="*/ 106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8 w 115"/>
                    <a:gd name="T17" fmla="*/ 72 h 106"/>
                    <a:gd name="T18" fmla="*/ 106 w 115"/>
                    <a:gd name="T19" fmla="*/ 88 h 106"/>
                    <a:gd name="T20" fmla="*/ 39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9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4" y="97"/>
                        <a:pt x="76" y="106"/>
                        <a:pt x="55" y="106"/>
                      </a:cubicBezTo>
                      <a:cubicBezTo>
                        <a:pt x="21" y="106"/>
                        <a:pt x="0" y="86"/>
                        <a:pt x="5" y="55"/>
                      </a:cubicBez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6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8" y="77"/>
                        <a:pt x="98" y="72"/>
                      </a:cubicBezTo>
                      <a:lnTo>
                        <a:pt x="106" y="88"/>
                      </a:lnTo>
                      <a:close/>
                      <a:moveTo>
                        <a:pt x="39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9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Freeform 13">
                  <a:extLst>
                    <a:ext uri="{FF2B5EF4-FFF2-40B4-BE49-F238E27FC236}">
                      <a16:creationId xmlns:a16="http://schemas.microsoft.com/office/drawing/2014/main" id="{E982B984-D04B-45AF-8231-E1F1EFC6F44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245513" y="3365501"/>
                  <a:ext cx="144463" cy="166688"/>
                </a:xfrm>
                <a:custGeom>
                  <a:avLst/>
                  <a:gdLst>
                    <a:gd name="T0" fmla="*/ 88 w 88"/>
                    <a:gd name="T1" fmla="*/ 2 h 100"/>
                    <a:gd name="T2" fmla="*/ 84 w 88"/>
                    <a:gd name="T3" fmla="*/ 32 h 100"/>
                    <a:gd name="T4" fmla="*/ 70 w 88"/>
                    <a:gd name="T5" fmla="*/ 30 h 100"/>
                    <a:gd name="T6" fmla="*/ 40 w 88"/>
                    <a:gd name="T7" fmla="*/ 46 h 100"/>
                    <a:gd name="T8" fmla="*/ 32 w 88"/>
                    <a:gd name="T9" fmla="*/ 100 h 100"/>
                    <a:gd name="T10" fmla="*/ 0 w 88"/>
                    <a:gd name="T11" fmla="*/ 100 h 100"/>
                    <a:gd name="T12" fmla="*/ 13 w 88"/>
                    <a:gd name="T13" fmla="*/ 6 h 100"/>
                    <a:gd name="T14" fmla="*/ 45 w 88"/>
                    <a:gd name="T15" fmla="*/ 0 h 100"/>
                    <a:gd name="T16" fmla="*/ 42 w 88"/>
                    <a:gd name="T17" fmla="*/ 22 h 100"/>
                    <a:gd name="T18" fmla="*/ 77 w 88"/>
                    <a:gd name="T19" fmla="*/ 0 h 100"/>
                    <a:gd name="T20" fmla="*/ 88 w 88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" h="100">
                      <a:moveTo>
                        <a:pt x="88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4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8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" name="Freeform 14">
                  <a:extLst>
                    <a:ext uri="{FF2B5EF4-FFF2-40B4-BE49-F238E27FC236}">
                      <a16:creationId xmlns:a16="http://schemas.microsoft.com/office/drawing/2014/main" id="{EDB97A8A-B6C2-45DC-B343-C00CEAF0581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389975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4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" name="Freeform 15">
                  <a:extLst>
                    <a:ext uri="{FF2B5EF4-FFF2-40B4-BE49-F238E27FC236}">
                      <a16:creationId xmlns:a16="http://schemas.microsoft.com/office/drawing/2014/main" id="{1393A8D7-04DD-40D0-B668-DE6B8E4C721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678900" y="3370263"/>
                  <a:ext cx="184150" cy="228600"/>
                </a:xfrm>
                <a:custGeom>
                  <a:avLst/>
                  <a:gdLst>
                    <a:gd name="T0" fmla="*/ 116 w 116"/>
                    <a:gd name="T1" fmla="*/ 0 h 144"/>
                    <a:gd name="T2" fmla="*/ 36 w 116"/>
                    <a:gd name="T3" fmla="*/ 144 h 144"/>
                    <a:gd name="T4" fmla="*/ 4 w 116"/>
                    <a:gd name="T5" fmla="*/ 144 h 144"/>
                    <a:gd name="T6" fmla="*/ 29 w 116"/>
                    <a:gd name="T7" fmla="*/ 102 h 144"/>
                    <a:gd name="T8" fmla="*/ 0 w 116"/>
                    <a:gd name="T9" fmla="*/ 0 h 144"/>
                    <a:gd name="T10" fmla="*/ 35 w 116"/>
                    <a:gd name="T11" fmla="*/ 0 h 144"/>
                    <a:gd name="T12" fmla="*/ 51 w 116"/>
                    <a:gd name="T13" fmla="*/ 64 h 144"/>
                    <a:gd name="T14" fmla="*/ 84 w 116"/>
                    <a:gd name="T15" fmla="*/ 0 h 144"/>
                    <a:gd name="T16" fmla="*/ 116 w 116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144">
                      <a:moveTo>
                        <a:pt x="116" y="0"/>
                      </a:moveTo>
                      <a:lnTo>
                        <a:pt x="36" y="144"/>
                      </a:lnTo>
                      <a:lnTo>
                        <a:pt x="4" y="144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1" y="64"/>
                      </a:lnTo>
                      <a:lnTo>
                        <a:pt x="84" y="0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" name="Freeform 16">
                  <a:extLst>
                    <a:ext uri="{FF2B5EF4-FFF2-40B4-BE49-F238E27FC236}">
                      <a16:creationId xmlns:a16="http://schemas.microsoft.com/office/drawing/2014/main" id="{7B9A6DAE-0525-493E-B930-1596CC37E29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85828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2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9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4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17">
                  <a:extLst>
                    <a:ext uri="{FF2B5EF4-FFF2-40B4-BE49-F238E27FC236}">
                      <a16:creationId xmlns:a16="http://schemas.microsoft.com/office/drawing/2014/main" id="{BED10BBD-66EE-4611-B4D6-D3669E33653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2078950" y="3365501"/>
                  <a:ext cx="190500" cy="171450"/>
                </a:xfrm>
                <a:custGeom>
                  <a:avLst/>
                  <a:gdLst>
                    <a:gd name="T0" fmla="*/ 115 w 115"/>
                    <a:gd name="T1" fmla="*/ 0 h 103"/>
                    <a:gd name="T2" fmla="*/ 101 w 115"/>
                    <a:gd name="T3" fmla="*/ 100 h 103"/>
                    <a:gd name="T4" fmla="*/ 70 w 115"/>
                    <a:gd name="T5" fmla="*/ 100 h 103"/>
                    <a:gd name="T6" fmla="*/ 72 w 115"/>
                    <a:gd name="T7" fmla="*/ 88 h 103"/>
                    <a:gd name="T8" fmla="*/ 35 w 115"/>
                    <a:gd name="T9" fmla="*/ 103 h 103"/>
                    <a:gd name="T10" fmla="*/ 4 w 115"/>
                    <a:gd name="T11" fmla="*/ 61 h 103"/>
                    <a:gd name="T12" fmla="*/ 12 w 115"/>
                    <a:gd name="T13" fmla="*/ 6 h 103"/>
                    <a:gd name="T14" fmla="*/ 45 w 115"/>
                    <a:gd name="T15" fmla="*/ 0 h 103"/>
                    <a:gd name="T16" fmla="*/ 38 w 115"/>
                    <a:gd name="T17" fmla="*/ 51 h 103"/>
                    <a:gd name="T18" fmla="*/ 51 w 115"/>
                    <a:gd name="T19" fmla="*/ 77 h 103"/>
                    <a:gd name="T20" fmla="*/ 74 w 115"/>
                    <a:gd name="T21" fmla="*/ 66 h 103"/>
                    <a:gd name="T22" fmla="*/ 82 w 115"/>
                    <a:gd name="T23" fmla="*/ 6 h 103"/>
                    <a:gd name="T24" fmla="*/ 115 w 115"/>
                    <a:gd name="T25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" h="103">
                      <a:moveTo>
                        <a:pt x="115" y="0"/>
                      </a:moveTo>
                      <a:cubicBezTo>
                        <a:pt x="101" y="100"/>
                        <a:pt x="101" y="100"/>
                        <a:pt x="101" y="100"/>
                      </a:cubicBezTo>
                      <a:cubicBezTo>
                        <a:pt x="70" y="100"/>
                        <a:pt x="70" y="100"/>
                        <a:pt x="70" y="100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62" y="98"/>
                        <a:pt x="48" y="103"/>
                        <a:pt x="35" y="103"/>
                      </a:cubicBezTo>
                      <a:cubicBezTo>
                        <a:pt x="14" y="103"/>
                        <a:pt x="0" y="89"/>
                        <a:pt x="4" y="61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38" y="51"/>
                        <a:pt x="38" y="51"/>
                        <a:pt x="38" y="51"/>
                      </a:cubicBezTo>
                      <a:cubicBezTo>
                        <a:pt x="35" y="68"/>
                        <a:pt x="40" y="77"/>
                        <a:pt x="51" y="77"/>
                      </a:cubicBezTo>
                      <a:cubicBezTo>
                        <a:pt x="59" y="77"/>
                        <a:pt x="67" y="73"/>
                        <a:pt x="74" y="66"/>
                      </a:cubicBezTo>
                      <a:cubicBezTo>
                        <a:pt x="82" y="6"/>
                        <a:pt x="82" y="6"/>
                        <a:pt x="82" y="6"/>
                      </a:cubicBezTo>
                      <a:lnTo>
                        <a:pt x="115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" name="Freeform 18">
                  <a:extLst>
                    <a:ext uri="{FF2B5EF4-FFF2-40B4-BE49-F238E27FC236}">
                      <a16:creationId xmlns:a16="http://schemas.microsoft.com/office/drawing/2014/main" id="{649EFB6C-9CE8-4096-B95F-82A3FF190ED5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353588" y="3365501"/>
                  <a:ext cx="233363" cy="236538"/>
                </a:xfrm>
                <a:custGeom>
                  <a:avLst/>
                  <a:gdLst>
                    <a:gd name="T0" fmla="*/ 138 w 141"/>
                    <a:gd name="T1" fmla="*/ 30 h 143"/>
                    <a:gd name="T2" fmla="*/ 114 w 141"/>
                    <a:gd name="T3" fmla="*/ 29 h 143"/>
                    <a:gd name="T4" fmla="*/ 117 w 141"/>
                    <a:gd name="T5" fmla="*/ 47 h 143"/>
                    <a:gd name="T6" fmla="*/ 59 w 141"/>
                    <a:gd name="T7" fmla="*/ 88 h 143"/>
                    <a:gd name="T8" fmla="*/ 54 w 141"/>
                    <a:gd name="T9" fmla="*/ 88 h 143"/>
                    <a:gd name="T10" fmla="*/ 35 w 141"/>
                    <a:gd name="T11" fmla="*/ 113 h 143"/>
                    <a:gd name="T12" fmla="*/ 84 w 141"/>
                    <a:gd name="T13" fmla="*/ 98 h 143"/>
                    <a:gd name="T14" fmla="*/ 118 w 141"/>
                    <a:gd name="T15" fmla="*/ 139 h 143"/>
                    <a:gd name="T16" fmla="*/ 84 w 141"/>
                    <a:gd name="T17" fmla="*/ 143 h 143"/>
                    <a:gd name="T18" fmla="*/ 66 w 141"/>
                    <a:gd name="T19" fmla="*/ 125 h 143"/>
                    <a:gd name="T20" fmla="*/ 18 w 141"/>
                    <a:gd name="T21" fmla="*/ 139 h 143"/>
                    <a:gd name="T22" fmla="*/ 0 w 141"/>
                    <a:gd name="T23" fmla="*/ 127 h 143"/>
                    <a:gd name="T24" fmla="*/ 27 w 141"/>
                    <a:gd name="T25" fmla="*/ 79 h 143"/>
                    <a:gd name="T26" fmla="*/ 11 w 141"/>
                    <a:gd name="T27" fmla="*/ 45 h 143"/>
                    <a:gd name="T28" fmla="*/ 71 w 141"/>
                    <a:gd name="T29" fmla="*/ 0 h 143"/>
                    <a:gd name="T30" fmla="*/ 91 w 141"/>
                    <a:gd name="T31" fmla="*/ 3 h 143"/>
                    <a:gd name="T32" fmla="*/ 141 w 141"/>
                    <a:gd name="T33" fmla="*/ 3 h 143"/>
                    <a:gd name="T34" fmla="*/ 138 w 141"/>
                    <a:gd name="T35" fmla="*/ 30 h 143"/>
                    <a:gd name="T36" fmla="*/ 87 w 141"/>
                    <a:gd name="T37" fmla="*/ 45 h 143"/>
                    <a:gd name="T38" fmla="*/ 67 w 141"/>
                    <a:gd name="T39" fmla="*/ 23 h 143"/>
                    <a:gd name="T40" fmla="*/ 42 w 141"/>
                    <a:gd name="T41" fmla="*/ 44 h 143"/>
                    <a:gd name="T42" fmla="*/ 62 w 141"/>
                    <a:gd name="T43" fmla="*/ 66 h 143"/>
                    <a:gd name="T44" fmla="*/ 87 w 141"/>
                    <a:gd name="T45" fmla="*/ 45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1" h="143">
                      <a:moveTo>
                        <a:pt x="138" y="30"/>
                      </a:moveTo>
                      <a:cubicBezTo>
                        <a:pt x="114" y="29"/>
                        <a:pt x="114" y="29"/>
                        <a:pt x="114" y="29"/>
                      </a:cubicBezTo>
                      <a:cubicBezTo>
                        <a:pt x="117" y="34"/>
                        <a:pt x="118" y="40"/>
                        <a:pt x="117" y="47"/>
                      </a:cubicBezTo>
                      <a:cubicBezTo>
                        <a:pt x="114" y="70"/>
                        <a:pt x="90" y="88"/>
                        <a:pt x="59" y="88"/>
                      </a:cubicBezTo>
                      <a:cubicBezTo>
                        <a:pt x="58" y="88"/>
                        <a:pt x="56" y="88"/>
                        <a:pt x="54" y="88"/>
                      </a:cubicBezTo>
                      <a:cubicBezTo>
                        <a:pt x="35" y="113"/>
                        <a:pt x="35" y="113"/>
                        <a:pt x="35" y="113"/>
                      </a:cubicBezTo>
                      <a:cubicBezTo>
                        <a:pt x="49" y="105"/>
                        <a:pt x="67" y="98"/>
                        <a:pt x="84" y="98"/>
                      </a:cubicBezTo>
                      <a:cubicBezTo>
                        <a:pt x="102" y="98"/>
                        <a:pt x="120" y="106"/>
                        <a:pt x="118" y="139"/>
                      </a:cubicBezTo>
                      <a:cubicBezTo>
                        <a:pt x="84" y="143"/>
                        <a:pt x="84" y="143"/>
                        <a:pt x="84" y="143"/>
                      </a:cubicBezTo>
                      <a:cubicBezTo>
                        <a:pt x="84" y="128"/>
                        <a:pt x="77" y="125"/>
                        <a:pt x="66" y="125"/>
                      </a:cubicBezTo>
                      <a:cubicBezTo>
                        <a:pt x="53" y="125"/>
                        <a:pt x="34" y="130"/>
                        <a:pt x="18" y="139"/>
                      </a:cubicBezTo>
                      <a:cubicBezTo>
                        <a:pt x="0" y="127"/>
                        <a:pt x="0" y="127"/>
                        <a:pt x="0" y="127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15" y="72"/>
                        <a:pt x="9" y="59"/>
                        <a:pt x="11" y="45"/>
                      </a:cubicBezTo>
                      <a:cubicBezTo>
                        <a:pt x="15" y="21"/>
                        <a:pt x="40" y="0"/>
                        <a:pt x="71" y="0"/>
                      </a:cubicBezTo>
                      <a:cubicBezTo>
                        <a:pt x="78" y="0"/>
                        <a:pt x="85" y="1"/>
                        <a:pt x="91" y="3"/>
                      </a:cubicBezTo>
                      <a:cubicBezTo>
                        <a:pt x="141" y="3"/>
                        <a:pt x="141" y="3"/>
                        <a:pt x="141" y="3"/>
                      </a:cubicBezTo>
                      <a:lnTo>
                        <a:pt x="138" y="30"/>
                      </a:lnTo>
                      <a:close/>
                      <a:moveTo>
                        <a:pt x="87" y="45"/>
                      </a:moveTo>
                      <a:cubicBezTo>
                        <a:pt x="89" y="31"/>
                        <a:pt x="79" y="23"/>
                        <a:pt x="67" y="23"/>
                      </a:cubicBezTo>
                      <a:cubicBezTo>
                        <a:pt x="55" y="23"/>
                        <a:pt x="44" y="31"/>
                        <a:pt x="42" y="44"/>
                      </a:cubicBezTo>
                      <a:cubicBezTo>
                        <a:pt x="40" y="57"/>
                        <a:pt x="50" y="66"/>
                        <a:pt x="62" y="66"/>
                      </a:cubicBezTo>
                      <a:cubicBezTo>
                        <a:pt x="74" y="66"/>
                        <a:pt x="85" y="58"/>
                        <a:pt x="87" y="45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" name="Freeform 19">
                  <a:extLst>
                    <a:ext uri="{FF2B5EF4-FFF2-40B4-BE49-F238E27FC236}">
                      <a16:creationId xmlns:a16="http://schemas.microsoft.com/office/drawing/2014/main" id="{3EB25A27-5AFA-4ED3-B328-3B8A3A9B872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58853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1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8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3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1" name="Rectangle 20">
                <a:extLst>
                  <a:ext uri="{FF2B5EF4-FFF2-40B4-BE49-F238E27FC236}">
                    <a16:creationId xmlns:a16="http://schemas.microsoft.com/office/drawing/2014/main" id="{56975B4C-A07B-4198-849C-C6B5E01823E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" name="Rectangle 21">
                <a:extLst>
                  <a:ext uri="{FF2B5EF4-FFF2-40B4-BE49-F238E27FC236}">
                    <a16:creationId xmlns:a16="http://schemas.microsoft.com/office/drawing/2014/main" id="{6581B025-8100-4789-BDEC-C36D2490CCC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Oval 22">
                <a:extLst>
                  <a:ext uri="{FF2B5EF4-FFF2-40B4-BE49-F238E27FC236}">
                    <a16:creationId xmlns:a16="http://schemas.microsoft.com/office/drawing/2014/main" id="{4941554E-D688-4A18-A50F-2D5792115F6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3">
                <a:extLst>
                  <a:ext uri="{FF2B5EF4-FFF2-40B4-BE49-F238E27FC236}">
                    <a16:creationId xmlns:a16="http://schemas.microsoft.com/office/drawing/2014/main" id="{E93480D3-93DE-4295-A9B9-96DBA76518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24">
                <a:extLst>
                  <a:ext uri="{FF2B5EF4-FFF2-40B4-BE49-F238E27FC236}">
                    <a16:creationId xmlns:a16="http://schemas.microsoft.com/office/drawing/2014/main" id="{28473B45-4F54-4206-91DA-5B90FD7674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id="{40F9354C-DCE9-4DB8-8096-BE2F4A7B38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2CCF9F98-2EA6-493F-B0F5-905F2C6DFB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E73B8B2-97D5-4D50-BAC7-983DE2660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6" y="2920181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4400"/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74059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title with descrip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1" y="2593447"/>
            <a:ext cx="4689764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401" y="3712110"/>
            <a:ext cx="4689452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644CA63-68E7-4953-BD26-021C6BAC143E}"/>
              </a:ext>
            </a:extLst>
          </p:cNvPr>
          <p:cNvGrpSpPr/>
          <p:nvPr userDrawn="1"/>
        </p:nvGrpSpPr>
        <p:grpSpPr>
          <a:xfrm>
            <a:off x="7813964" y="5310073"/>
            <a:ext cx="3984336" cy="1151372"/>
            <a:chOff x="7813964" y="5310073"/>
            <a:chExt cx="3984336" cy="115137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17E5F5B-DBEA-415D-9170-F606A454AE3E}"/>
                </a:ext>
              </a:extLst>
            </p:cNvPr>
            <p:cNvGrpSpPr/>
            <p:nvPr userDrawn="1"/>
          </p:nvGrpSpPr>
          <p:grpSpPr>
            <a:xfrm>
              <a:off x="7813964" y="5788335"/>
              <a:ext cx="2358245" cy="226732"/>
              <a:chOff x="19621500" y="3297238"/>
              <a:chExt cx="3170238" cy="304801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id="{F24DD540-E072-4623-8F3E-DC6FE6DC52D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2150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6">
                <a:extLst>
                  <a:ext uri="{FF2B5EF4-FFF2-40B4-BE49-F238E27FC236}">
                    <a16:creationId xmlns:a16="http://schemas.microsoft.com/office/drawing/2014/main" id="{915D8A6D-50BC-429C-B8CF-19F5D19BCC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29463" y="3370263"/>
                <a:ext cx="190500" cy="161925"/>
              </a:xfrm>
              <a:custGeom>
                <a:avLst/>
                <a:gdLst>
                  <a:gd name="T0" fmla="*/ 120 w 120"/>
                  <a:gd name="T1" fmla="*/ 0 h 102"/>
                  <a:gd name="T2" fmla="*/ 62 w 120"/>
                  <a:gd name="T3" fmla="*/ 102 h 102"/>
                  <a:gd name="T4" fmla="*/ 29 w 120"/>
                  <a:gd name="T5" fmla="*/ 102 h 102"/>
                  <a:gd name="T6" fmla="*/ 0 w 120"/>
                  <a:gd name="T7" fmla="*/ 0 h 102"/>
                  <a:gd name="T8" fmla="*/ 35 w 120"/>
                  <a:gd name="T9" fmla="*/ 0 h 102"/>
                  <a:gd name="T10" fmla="*/ 52 w 120"/>
                  <a:gd name="T11" fmla="*/ 67 h 102"/>
                  <a:gd name="T12" fmla="*/ 87 w 120"/>
                  <a:gd name="T13" fmla="*/ 0 h 102"/>
                  <a:gd name="T14" fmla="*/ 120 w 120"/>
                  <a:gd name="T15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102">
                    <a:moveTo>
                      <a:pt x="120" y="0"/>
                    </a:moveTo>
                    <a:lnTo>
                      <a:pt x="62" y="102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2" y="67"/>
                    </a:lnTo>
                    <a:lnTo>
                      <a:pt x="87" y="0"/>
                    </a:lnTo>
                    <a:lnTo>
                      <a:pt x="120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C14C0768-5E05-46FF-8ED5-78187FBA6F9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013613" y="3363913"/>
                <a:ext cx="188913" cy="176213"/>
              </a:xfrm>
              <a:custGeom>
                <a:avLst/>
                <a:gdLst>
                  <a:gd name="T0" fmla="*/ 106 w 114"/>
                  <a:gd name="T1" fmla="*/ 88 h 106"/>
                  <a:gd name="T2" fmla="*/ 54 w 114"/>
                  <a:gd name="T3" fmla="*/ 106 h 106"/>
                  <a:gd name="T4" fmla="*/ 4 w 114"/>
                  <a:gd name="T5" fmla="*/ 55 h 106"/>
                  <a:gd name="T6" fmla="*/ 69 w 114"/>
                  <a:gd name="T7" fmla="*/ 0 h 106"/>
                  <a:gd name="T8" fmla="*/ 111 w 114"/>
                  <a:gd name="T9" fmla="*/ 44 h 106"/>
                  <a:gd name="T10" fmla="*/ 105 w 114"/>
                  <a:gd name="T11" fmla="*/ 61 h 106"/>
                  <a:gd name="T12" fmla="*/ 35 w 114"/>
                  <a:gd name="T13" fmla="*/ 61 h 106"/>
                  <a:gd name="T14" fmla="*/ 64 w 114"/>
                  <a:gd name="T15" fmla="*/ 81 h 106"/>
                  <a:gd name="T16" fmla="*/ 97 w 114"/>
                  <a:gd name="T17" fmla="*/ 72 h 106"/>
                  <a:gd name="T18" fmla="*/ 106 w 114"/>
                  <a:gd name="T19" fmla="*/ 88 h 106"/>
                  <a:gd name="T20" fmla="*/ 38 w 114"/>
                  <a:gd name="T21" fmla="*/ 40 h 106"/>
                  <a:gd name="T22" fmla="*/ 83 w 114"/>
                  <a:gd name="T23" fmla="*/ 40 h 106"/>
                  <a:gd name="T24" fmla="*/ 66 w 114"/>
                  <a:gd name="T25" fmla="*/ 22 h 106"/>
                  <a:gd name="T26" fmla="*/ 38 w 114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4" y="18"/>
                      <a:pt x="111" y="44"/>
                    </a:cubicBezTo>
                    <a:cubicBezTo>
                      <a:pt x="110" y="51"/>
                      <a:pt x="107" y="57"/>
                      <a:pt x="10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7" y="74"/>
                      <a:pt x="47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3" y="40"/>
                      <a:pt x="83" y="40"/>
                      <a:pt x="83" y="40"/>
                    </a:cubicBezTo>
                    <a:cubicBezTo>
                      <a:pt x="84" y="29"/>
                      <a:pt x="77" y="22"/>
                      <a:pt x="66" y="22"/>
                    </a:cubicBezTo>
                    <a:cubicBezTo>
                      <a:pt x="55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8">
                <a:extLst>
                  <a:ext uri="{FF2B5EF4-FFF2-40B4-BE49-F238E27FC236}">
                    <a16:creationId xmlns:a16="http://schemas.microsoft.com/office/drawing/2014/main" id="{748DB273-517C-4F06-B561-BB13D6444A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19988" y="3365501"/>
                <a:ext cx="146050" cy="166688"/>
              </a:xfrm>
              <a:custGeom>
                <a:avLst/>
                <a:gdLst>
                  <a:gd name="T0" fmla="*/ 89 w 89"/>
                  <a:gd name="T1" fmla="*/ 2 h 100"/>
                  <a:gd name="T2" fmla="*/ 84 w 89"/>
                  <a:gd name="T3" fmla="*/ 32 h 100"/>
                  <a:gd name="T4" fmla="*/ 70 w 89"/>
                  <a:gd name="T5" fmla="*/ 30 h 100"/>
                  <a:gd name="T6" fmla="*/ 40 w 89"/>
                  <a:gd name="T7" fmla="*/ 46 h 100"/>
                  <a:gd name="T8" fmla="*/ 32 w 89"/>
                  <a:gd name="T9" fmla="*/ 100 h 100"/>
                  <a:gd name="T10" fmla="*/ 0 w 89"/>
                  <a:gd name="T11" fmla="*/ 100 h 100"/>
                  <a:gd name="T12" fmla="*/ 14 w 89"/>
                  <a:gd name="T13" fmla="*/ 6 h 100"/>
                  <a:gd name="T14" fmla="*/ 45 w 89"/>
                  <a:gd name="T15" fmla="*/ 0 h 100"/>
                  <a:gd name="T16" fmla="*/ 42 w 89"/>
                  <a:gd name="T17" fmla="*/ 22 h 100"/>
                  <a:gd name="T18" fmla="*/ 77 w 89"/>
                  <a:gd name="T19" fmla="*/ 0 h 100"/>
                  <a:gd name="T20" fmla="*/ 89 w 89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100">
                    <a:moveTo>
                      <a:pt x="89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5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9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9">
                <a:extLst>
                  <a:ext uri="{FF2B5EF4-FFF2-40B4-BE49-F238E27FC236}">
                    <a16:creationId xmlns:a16="http://schemas.microsoft.com/office/drawing/2014/main" id="{764C39C3-90D1-4024-A4BF-B08403CF64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69213" y="3370263"/>
                <a:ext cx="187325" cy="228600"/>
              </a:xfrm>
              <a:custGeom>
                <a:avLst/>
                <a:gdLst>
                  <a:gd name="T0" fmla="*/ 118 w 118"/>
                  <a:gd name="T1" fmla="*/ 0 h 144"/>
                  <a:gd name="T2" fmla="*/ 38 w 118"/>
                  <a:gd name="T3" fmla="*/ 144 h 144"/>
                  <a:gd name="T4" fmla="*/ 5 w 118"/>
                  <a:gd name="T5" fmla="*/ 144 h 144"/>
                  <a:gd name="T6" fmla="*/ 31 w 118"/>
                  <a:gd name="T7" fmla="*/ 102 h 144"/>
                  <a:gd name="T8" fmla="*/ 0 w 118"/>
                  <a:gd name="T9" fmla="*/ 0 h 144"/>
                  <a:gd name="T10" fmla="*/ 37 w 118"/>
                  <a:gd name="T11" fmla="*/ 0 h 144"/>
                  <a:gd name="T12" fmla="*/ 53 w 118"/>
                  <a:gd name="T13" fmla="*/ 64 h 144"/>
                  <a:gd name="T14" fmla="*/ 86 w 118"/>
                  <a:gd name="T15" fmla="*/ 0 h 144"/>
                  <a:gd name="T16" fmla="*/ 118 w 118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8" h="144">
                    <a:moveTo>
                      <a:pt x="118" y="0"/>
                    </a:moveTo>
                    <a:lnTo>
                      <a:pt x="38" y="144"/>
                    </a:lnTo>
                    <a:lnTo>
                      <a:pt x="5" y="144"/>
                    </a:lnTo>
                    <a:lnTo>
                      <a:pt x="31" y="102"/>
                    </a:lnTo>
                    <a:lnTo>
                      <a:pt x="0" y="0"/>
                    </a:lnTo>
                    <a:lnTo>
                      <a:pt x="37" y="0"/>
                    </a:lnTo>
                    <a:lnTo>
                      <a:pt x="53" y="64"/>
                    </a:lnTo>
                    <a:lnTo>
                      <a:pt x="86" y="0"/>
                    </a:lnTo>
                    <a:lnTo>
                      <a:pt x="11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23657EFE-091E-412D-89DF-BEA06FB868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61300" y="3370263"/>
                <a:ext cx="266700" cy="161925"/>
              </a:xfrm>
              <a:custGeom>
                <a:avLst/>
                <a:gdLst>
                  <a:gd name="T0" fmla="*/ 168 w 168"/>
                  <a:gd name="T1" fmla="*/ 0 h 102"/>
                  <a:gd name="T2" fmla="*/ 119 w 168"/>
                  <a:gd name="T3" fmla="*/ 102 h 102"/>
                  <a:gd name="T4" fmla="*/ 88 w 168"/>
                  <a:gd name="T5" fmla="*/ 102 h 102"/>
                  <a:gd name="T6" fmla="*/ 76 w 168"/>
                  <a:gd name="T7" fmla="*/ 45 h 102"/>
                  <a:gd name="T8" fmla="*/ 52 w 168"/>
                  <a:gd name="T9" fmla="*/ 102 h 102"/>
                  <a:gd name="T10" fmla="*/ 20 w 168"/>
                  <a:gd name="T11" fmla="*/ 102 h 102"/>
                  <a:gd name="T12" fmla="*/ 0 w 168"/>
                  <a:gd name="T13" fmla="*/ 0 h 102"/>
                  <a:gd name="T14" fmla="*/ 34 w 168"/>
                  <a:gd name="T15" fmla="*/ 0 h 102"/>
                  <a:gd name="T16" fmla="*/ 43 w 168"/>
                  <a:gd name="T17" fmla="*/ 67 h 102"/>
                  <a:gd name="T18" fmla="*/ 70 w 168"/>
                  <a:gd name="T19" fmla="*/ 0 h 102"/>
                  <a:gd name="T20" fmla="*/ 100 w 168"/>
                  <a:gd name="T21" fmla="*/ 0 h 102"/>
                  <a:gd name="T22" fmla="*/ 111 w 168"/>
                  <a:gd name="T23" fmla="*/ 67 h 102"/>
                  <a:gd name="T24" fmla="*/ 137 w 168"/>
                  <a:gd name="T25" fmla="*/ 0 h 102"/>
                  <a:gd name="T26" fmla="*/ 168 w 168"/>
                  <a:gd name="T27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102">
                    <a:moveTo>
                      <a:pt x="168" y="0"/>
                    </a:moveTo>
                    <a:lnTo>
                      <a:pt x="119" y="102"/>
                    </a:lnTo>
                    <a:lnTo>
                      <a:pt x="88" y="102"/>
                    </a:lnTo>
                    <a:lnTo>
                      <a:pt x="76" y="45"/>
                    </a:lnTo>
                    <a:lnTo>
                      <a:pt x="52" y="102"/>
                    </a:lnTo>
                    <a:lnTo>
                      <a:pt x="20" y="102"/>
                    </a:lnTo>
                    <a:lnTo>
                      <a:pt x="0" y="0"/>
                    </a:lnTo>
                    <a:lnTo>
                      <a:pt x="34" y="0"/>
                    </a:lnTo>
                    <a:lnTo>
                      <a:pt x="43" y="67"/>
                    </a:lnTo>
                    <a:lnTo>
                      <a:pt x="70" y="0"/>
                    </a:lnTo>
                    <a:lnTo>
                      <a:pt x="100" y="0"/>
                    </a:lnTo>
                    <a:lnTo>
                      <a:pt x="111" y="67"/>
                    </a:lnTo>
                    <a:lnTo>
                      <a:pt x="137" y="0"/>
                    </a:lnTo>
                    <a:lnTo>
                      <a:pt x="16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11">
                <a:extLst>
                  <a:ext uri="{FF2B5EF4-FFF2-40B4-BE49-F238E27FC236}">
                    <a16:creationId xmlns:a16="http://schemas.microsoft.com/office/drawing/2014/main" id="{0BCAF017-9AFB-49A1-86F6-F4247E39B5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31175" y="3297238"/>
                <a:ext cx="192088" cy="234950"/>
              </a:xfrm>
              <a:custGeom>
                <a:avLst/>
                <a:gdLst>
                  <a:gd name="T0" fmla="*/ 112 w 116"/>
                  <a:gd name="T1" fmla="*/ 84 h 142"/>
                  <a:gd name="T2" fmla="*/ 103 w 116"/>
                  <a:gd name="T3" fmla="*/ 142 h 142"/>
                  <a:gd name="T4" fmla="*/ 71 w 116"/>
                  <a:gd name="T5" fmla="*/ 142 h 142"/>
                  <a:gd name="T6" fmla="*/ 78 w 116"/>
                  <a:gd name="T7" fmla="*/ 94 h 142"/>
                  <a:gd name="T8" fmla="*/ 64 w 116"/>
                  <a:gd name="T9" fmla="*/ 69 h 142"/>
                  <a:gd name="T10" fmla="*/ 41 w 116"/>
                  <a:gd name="T11" fmla="*/ 81 h 142"/>
                  <a:gd name="T12" fmla="*/ 32 w 116"/>
                  <a:gd name="T13" fmla="*/ 142 h 142"/>
                  <a:gd name="T14" fmla="*/ 0 w 116"/>
                  <a:gd name="T15" fmla="*/ 142 h 142"/>
                  <a:gd name="T16" fmla="*/ 19 w 116"/>
                  <a:gd name="T17" fmla="*/ 6 h 142"/>
                  <a:gd name="T18" fmla="*/ 52 w 116"/>
                  <a:gd name="T19" fmla="*/ 0 h 142"/>
                  <a:gd name="T20" fmla="*/ 44 w 116"/>
                  <a:gd name="T21" fmla="*/ 57 h 142"/>
                  <a:gd name="T22" fmla="*/ 81 w 116"/>
                  <a:gd name="T23" fmla="*/ 42 h 142"/>
                  <a:gd name="T24" fmla="*/ 112 w 116"/>
                  <a:gd name="T25" fmla="*/ 8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112" y="84"/>
                    </a:moveTo>
                    <a:cubicBezTo>
                      <a:pt x="103" y="142"/>
                      <a:pt x="103" y="142"/>
                      <a:pt x="103" y="142"/>
                    </a:cubicBezTo>
                    <a:cubicBezTo>
                      <a:pt x="71" y="142"/>
                      <a:pt x="71" y="142"/>
                      <a:pt x="71" y="142"/>
                    </a:cubicBezTo>
                    <a:cubicBezTo>
                      <a:pt x="78" y="94"/>
                      <a:pt x="78" y="94"/>
                      <a:pt x="78" y="94"/>
                    </a:cubicBezTo>
                    <a:cubicBezTo>
                      <a:pt x="80" y="78"/>
                      <a:pt x="76" y="69"/>
                      <a:pt x="64" y="69"/>
                    </a:cubicBezTo>
                    <a:cubicBezTo>
                      <a:pt x="56" y="69"/>
                      <a:pt x="47" y="74"/>
                      <a:pt x="41" y="81"/>
                    </a:cubicBezTo>
                    <a:cubicBezTo>
                      <a:pt x="32" y="142"/>
                      <a:pt x="32" y="142"/>
                      <a:pt x="32" y="14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54" y="47"/>
                      <a:pt x="68" y="42"/>
                      <a:pt x="81" y="42"/>
                    </a:cubicBezTo>
                    <a:cubicBezTo>
                      <a:pt x="101" y="42"/>
                      <a:pt x="116" y="56"/>
                      <a:pt x="112" y="8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81E84B43-2A5A-4C65-8717-E747B3337E4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03755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5 w 115"/>
                  <a:gd name="T3" fmla="*/ 106 h 106"/>
                  <a:gd name="T4" fmla="*/ 5 w 115"/>
                  <a:gd name="T5" fmla="*/ 55 h 106"/>
                  <a:gd name="T6" fmla="*/ 70 w 115"/>
                  <a:gd name="T7" fmla="*/ 0 h 106"/>
                  <a:gd name="T8" fmla="*/ 111 w 115"/>
                  <a:gd name="T9" fmla="*/ 44 h 106"/>
                  <a:gd name="T10" fmla="*/ 106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8 w 115"/>
                  <a:gd name="T17" fmla="*/ 72 h 106"/>
                  <a:gd name="T18" fmla="*/ 106 w 115"/>
                  <a:gd name="T19" fmla="*/ 88 h 106"/>
                  <a:gd name="T20" fmla="*/ 39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9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4" y="97"/>
                      <a:pt x="76" y="106"/>
                      <a:pt x="55" y="106"/>
                    </a:cubicBezTo>
                    <a:cubicBezTo>
                      <a:pt x="21" y="106"/>
                      <a:pt x="0" y="86"/>
                      <a:pt x="5" y="55"/>
                    </a:cubicBezTo>
                    <a:cubicBezTo>
                      <a:pt x="9" y="24"/>
                      <a:pt x="37" y="0"/>
                      <a:pt x="70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6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8" y="77"/>
                      <a:pt x="98" y="72"/>
                    </a:cubicBezTo>
                    <a:lnTo>
                      <a:pt x="106" y="88"/>
                    </a:lnTo>
                    <a:close/>
                    <a:moveTo>
                      <a:pt x="39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9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Freeform 13">
                <a:extLst>
                  <a:ext uri="{FF2B5EF4-FFF2-40B4-BE49-F238E27FC236}">
                    <a16:creationId xmlns:a16="http://schemas.microsoft.com/office/drawing/2014/main" id="{F13DADFD-CCCA-43BE-A308-301CDD6910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45513" y="3365501"/>
                <a:ext cx="144463" cy="166688"/>
              </a:xfrm>
              <a:custGeom>
                <a:avLst/>
                <a:gdLst>
                  <a:gd name="T0" fmla="*/ 88 w 88"/>
                  <a:gd name="T1" fmla="*/ 2 h 100"/>
                  <a:gd name="T2" fmla="*/ 84 w 88"/>
                  <a:gd name="T3" fmla="*/ 32 h 100"/>
                  <a:gd name="T4" fmla="*/ 70 w 88"/>
                  <a:gd name="T5" fmla="*/ 30 h 100"/>
                  <a:gd name="T6" fmla="*/ 40 w 88"/>
                  <a:gd name="T7" fmla="*/ 46 h 100"/>
                  <a:gd name="T8" fmla="*/ 32 w 88"/>
                  <a:gd name="T9" fmla="*/ 100 h 100"/>
                  <a:gd name="T10" fmla="*/ 0 w 88"/>
                  <a:gd name="T11" fmla="*/ 100 h 100"/>
                  <a:gd name="T12" fmla="*/ 13 w 88"/>
                  <a:gd name="T13" fmla="*/ 6 h 100"/>
                  <a:gd name="T14" fmla="*/ 45 w 88"/>
                  <a:gd name="T15" fmla="*/ 0 h 100"/>
                  <a:gd name="T16" fmla="*/ 42 w 88"/>
                  <a:gd name="T17" fmla="*/ 22 h 100"/>
                  <a:gd name="T18" fmla="*/ 77 w 88"/>
                  <a:gd name="T19" fmla="*/ 0 h 100"/>
                  <a:gd name="T20" fmla="*/ 88 w 88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8" h="100">
                    <a:moveTo>
                      <a:pt x="88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4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8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Freeform 14">
                <a:extLst>
                  <a:ext uri="{FF2B5EF4-FFF2-40B4-BE49-F238E27FC236}">
                    <a16:creationId xmlns:a16="http://schemas.microsoft.com/office/drawing/2014/main" id="{21E99C24-67C4-4ECE-9520-D2943A8926D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389975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4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Freeform 15">
                <a:extLst>
                  <a:ext uri="{FF2B5EF4-FFF2-40B4-BE49-F238E27FC236}">
                    <a16:creationId xmlns:a16="http://schemas.microsoft.com/office/drawing/2014/main" id="{72CA8F9D-3E8E-49A2-9B3C-C052C7C4D1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78900" y="3370263"/>
                <a:ext cx="184150" cy="228600"/>
              </a:xfrm>
              <a:custGeom>
                <a:avLst/>
                <a:gdLst>
                  <a:gd name="T0" fmla="*/ 116 w 116"/>
                  <a:gd name="T1" fmla="*/ 0 h 144"/>
                  <a:gd name="T2" fmla="*/ 36 w 116"/>
                  <a:gd name="T3" fmla="*/ 144 h 144"/>
                  <a:gd name="T4" fmla="*/ 4 w 116"/>
                  <a:gd name="T5" fmla="*/ 144 h 144"/>
                  <a:gd name="T6" fmla="*/ 29 w 116"/>
                  <a:gd name="T7" fmla="*/ 102 h 144"/>
                  <a:gd name="T8" fmla="*/ 0 w 116"/>
                  <a:gd name="T9" fmla="*/ 0 h 144"/>
                  <a:gd name="T10" fmla="*/ 35 w 116"/>
                  <a:gd name="T11" fmla="*/ 0 h 144"/>
                  <a:gd name="T12" fmla="*/ 51 w 116"/>
                  <a:gd name="T13" fmla="*/ 64 h 144"/>
                  <a:gd name="T14" fmla="*/ 84 w 116"/>
                  <a:gd name="T15" fmla="*/ 0 h 144"/>
                  <a:gd name="T16" fmla="*/ 116 w 116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6" h="144">
                    <a:moveTo>
                      <a:pt x="116" y="0"/>
                    </a:moveTo>
                    <a:lnTo>
                      <a:pt x="36" y="144"/>
                    </a:lnTo>
                    <a:lnTo>
                      <a:pt x="4" y="144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1" y="64"/>
                    </a:lnTo>
                    <a:lnTo>
                      <a:pt x="84" y="0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16">
                <a:extLst>
                  <a:ext uri="{FF2B5EF4-FFF2-40B4-BE49-F238E27FC236}">
                    <a16:creationId xmlns:a16="http://schemas.microsoft.com/office/drawing/2014/main" id="{2B23EEED-3F52-42B3-93D7-2E1F5731782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85828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2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9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4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Freeform 17">
                <a:extLst>
                  <a:ext uri="{FF2B5EF4-FFF2-40B4-BE49-F238E27FC236}">
                    <a16:creationId xmlns:a16="http://schemas.microsoft.com/office/drawing/2014/main" id="{7DA9CDE6-4301-4CF7-BBCA-F49692B1D0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8950" y="3365501"/>
                <a:ext cx="190500" cy="171450"/>
              </a:xfrm>
              <a:custGeom>
                <a:avLst/>
                <a:gdLst>
                  <a:gd name="T0" fmla="*/ 115 w 115"/>
                  <a:gd name="T1" fmla="*/ 0 h 103"/>
                  <a:gd name="T2" fmla="*/ 101 w 115"/>
                  <a:gd name="T3" fmla="*/ 100 h 103"/>
                  <a:gd name="T4" fmla="*/ 70 w 115"/>
                  <a:gd name="T5" fmla="*/ 100 h 103"/>
                  <a:gd name="T6" fmla="*/ 72 w 115"/>
                  <a:gd name="T7" fmla="*/ 88 h 103"/>
                  <a:gd name="T8" fmla="*/ 35 w 115"/>
                  <a:gd name="T9" fmla="*/ 103 h 103"/>
                  <a:gd name="T10" fmla="*/ 4 w 115"/>
                  <a:gd name="T11" fmla="*/ 61 h 103"/>
                  <a:gd name="T12" fmla="*/ 12 w 115"/>
                  <a:gd name="T13" fmla="*/ 6 h 103"/>
                  <a:gd name="T14" fmla="*/ 45 w 115"/>
                  <a:gd name="T15" fmla="*/ 0 h 103"/>
                  <a:gd name="T16" fmla="*/ 38 w 115"/>
                  <a:gd name="T17" fmla="*/ 51 h 103"/>
                  <a:gd name="T18" fmla="*/ 51 w 115"/>
                  <a:gd name="T19" fmla="*/ 77 h 103"/>
                  <a:gd name="T20" fmla="*/ 74 w 115"/>
                  <a:gd name="T21" fmla="*/ 66 h 103"/>
                  <a:gd name="T22" fmla="*/ 82 w 115"/>
                  <a:gd name="T23" fmla="*/ 6 h 103"/>
                  <a:gd name="T24" fmla="*/ 115 w 115"/>
                  <a:gd name="T25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103">
                    <a:moveTo>
                      <a:pt x="115" y="0"/>
                    </a:moveTo>
                    <a:cubicBezTo>
                      <a:pt x="101" y="100"/>
                      <a:pt x="101" y="100"/>
                      <a:pt x="101" y="100"/>
                    </a:cubicBezTo>
                    <a:cubicBezTo>
                      <a:pt x="70" y="100"/>
                      <a:pt x="70" y="100"/>
                      <a:pt x="70" y="100"/>
                    </a:cubicBezTo>
                    <a:cubicBezTo>
                      <a:pt x="72" y="88"/>
                      <a:pt x="72" y="88"/>
                      <a:pt x="72" y="88"/>
                    </a:cubicBezTo>
                    <a:cubicBezTo>
                      <a:pt x="62" y="98"/>
                      <a:pt x="48" y="103"/>
                      <a:pt x="35" y="103"/>
                    </a:cubicBezTo>
                    <a:cubicBezTo>
                      <a:pt x="14" y="103"/>
                      <a:pt x="0" y="89"/>
                      <a:pt x="4" y="61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38" y="51"/>
                      <a:pt x="38" y="51"/>
                      <a:pt x="38" y="51"/>
                    </a:cubicBezTo>
                    <a:cubicBezTo>
                      <a:pt x="35" y="68"/>
                      <a:pt x="40" y="77"/>
                      <a:pt x="51" y="77"/>
                    </a:cubicBezTo>
                    <a:cubicBezTo>
                      <a:pt x="59" y="77"/>
                      <a:pt x="67" y="73"/>
                      <a:pt x="74" y="66"/>
                    </a:cubicBezTo>
                    <a:cubicBezTo>
                      <a:pt x="82" y="6"/>
                      <a:pt x="82" y="6"/>
                      <a:pt x="82" y="6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Freeform 18">
                <a:extLst>
                  <a:ext uri="{FF2B5EF4-FFF2-40B4-BE49-F238E27FC236}">
                    <a16:creationId xmlns:a16="http://schemas.microsoft.com/office/drawing/2014/main" id="{C0A4BB0B-23A1-41AF-B663-81B3986047A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53588" y="3365501"/>
                <a:ext cx="233363" cy="236538"/>
              </a:xfrm>
              <a:custGeom>
                <a:avLst/>
                <a:gdLst>
                  <a:gd name="T0" fmla="*/ 138 w 141"/>
                  <a:gd name="T1" fmla="*/ 30 h 143"/>
                  <a:gd name="T2" fmla="*/ 114 w 141"/>
                  <a:gd name="T3" fmla="*/ 29 h 143"/>
                  <a:gd name="T4" fmla="*/ 117 w 141"/>
                  <a:gd name="T5" fmla="*/ 47 h 143"/>
                  <a:gd name="T6" fmla="*/ 59 w 141"/>
                  <a:gd name="T7" fmla="*/ 88 h 143"/>
                  <a:gd name="T8" fmla="*/ 54 w 141"/>
                  <a:gd name="T9" fmla="*/ 88 h 143"/>
                  <a:gd name="T10" fmla="*/ 35 w 141"/>
                  <a:gd name="T11" fmla="*/ 113 h 143"/>
                  <a:gd name="T12" fmla="*/ 84 w 141"/>
                  <a:gd name="T13" fmla="*/ 98 h 143"/>
                  <a:gd name="T14" fmla="*/ 118 w 141"/>
                  <a:gd name="T15" fmla="*/ 139 h 143"/>
                  <a:gd name="T16" fmla="*/ 84 w 141"/>
                  <a:gd name="T17" fmla="*/ 143 h 143"/>
                  <a:gd name="T18" fmla="*/ 66 w 141"/>
                  <a:gd name="T19" fmla="*/ 125 h 143"/>
                  <a:gd name="T20" fmla="*/ 18 w 141"/>
                  <a:gd name="T21" fmla="*/ 139 h 143"/>
                  <a:gd name="T22" fmla="*/ 0 w 141"/>
                  <a:gd name="T23" fmla="*/ 127 h 143"/>
                  <a:gd name="T24" fmla="*/ 27 w 141"/>
                  <a:gd name="T25" fmla="*/ 79 h 143"/>
                  <a:gd name="T26" fmla="*/ 11 w 141"/>
                  <a:gd name="T27" fmla="*/ 45 h 143"/>
                  <a:gd name="T28" fmla="*/ 71 w 141"/>
                  <a:gd name="T29" fmla="*/ 0 h 143"/>
                  <a:gd name="T30" fmla="*/ 91 w 141"/>
                  <a:gd name="T31" fmla="*/ 3 h 143"/>
                  <a:gd name="T32" fmla="*/ 141 w 141"/>
                  <a:gd name="T33" fmla="*/ 3 h 143"/>
                  <a:gd name="T34" fmla="*/ 138 w 141"/>
                  <a:gd name="T35" fmla="*/ 30 h 143"/>
                  <a:gd name="T36" fmla="*/ 87 w 141"/>
                  <a:gd name="T37" fmla="*/ 45 h 143"/>
                  <a:gd name="T38" fmla="*/ 67 w 141"/>
                  <a:gd name="T39" fmla="*/ 23 h 143"/>
                  <a:gd name="T40" fmla="*/ 42 w 141"/>
                  <a:gd name="T41" fmla="*/ 44 h 143"/>
                  <a:gd name="T42" fmla="*/ 62 w 141"/>
                  <a:gd name="T43" fmla="*/ 66 h 143"/>
                  <a:gd name="T44" fmla="*/ 87 w 141"/>
                  <a:gd name="T45" fmla="*/ 45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1" h="143">
                    <a:moveTo>
                      <a:pt x="138" y="30"/>
                    </a:moveTo>
                    <a:cubicBezTo>
                      <a:pt x="114" y="29"/>
                      <a:pt x="114" y="29"/>
                      <a:pt x="114" y="29"/>
                    </a:cubicBezTo>
                    <a:cubicBezTo>
                      <a:pt x="117" y="34"/>
                      <a:pt x="118" y="40"/>
                      <a:pt x="117" y="47"/>
                    </a:cubicBezTo>
                    <a:cubicBezTo>
                      <a:pt x="114" y="70"/>
                      <a:pt x="90" y="88"/>
                      <a:pt x="59" y="88"/>
                    </a:cubicBezTo>
                    <a:cubicBezTo>
                      <a:pt x="58" y="88"/>
                      <a:pt x="56" y="88"/>
                      <a:pt x="54" y="88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49" y="105"/>
                      <a:pt x="67" y="98"/>
                      <a:pt x="84" y="98"/>
                    </a:cubicBezTo>
                    <a:cubicBezTo>
                      <a:pt x="102" y="98"/>
                      <a:pt x="120" y="106"/>
                      <a:pt x="118" y="139"/>
                    </a:cubicBezTo>
                    <a:cubicBezTo>
                      <a:pt x="84" y="143"/>
                      <a:pt x="84" y="143"/>
                      <a:pt x="84" y="143"/>
                    </a:cubicBezTo>
                    <a:cubicBezTo>
                      <a:pt x="84" y="128"/>
                      <a:pt x="77" y="125"/>
                      <a:pt x="66" y="125"/>
                    </a:cubicBezTo>
                    <a:cubicBezTo>
                      <a:pt x="53" y="125"/>
                      <a:pt x="34" y="130"/>
                      <a:pt x="18" y="139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27" y="79"/>
                      <a:pt x="27" y="79"/>
                      <a:pt x="27" y="79"/>
                    </a:cubicBezTo>
                    <a:cubicBezTo>
                      <a:pt x="15" y="72"/>
                      <a:pt x="9" y="59"/>
                      <a:pt x="11" y="45"/>
                    </a:cubicBezTo>
                    <a:cubicBezTo>
                      <a:pt x="15" y="21"/>
                      <a:pt x="40" y="0"/>
                      <a:pt x="71" y="0"/>
                    </a:cubicBezTo>
                    <a:cubicBezTo>
                      <a:pt x="78" y="0"/>
                      <a:pt x="85" y="1"/>
                      <a:pt x="91" y="3"/>
                    </a:cubicBezTo>
                    <a:cubicBezTo>
                      <a:pt x="141" y="3"/>
                      <a:pt x="141" y="3"/>
                      <a:pt x="141" y="3"/>
                    </a:cubicBezTo>
                    <a:lnTo>
                      <a:pt x="138" y="30"/>
                    </a:lnTo>
                    <a:close/>
                    <a:moveTo>
                      <a:pt x="87" y="45"/>
                    </a:moveTo>
                    <a:cubicBezTo>
                      <a:pt x="89" y="31"/>
                      <a:pt x="79" y="23"/>
                      <a:pt x="67" y="23"/>
                    </a:cubicBezTo>
                    <a:cubicBezTo>
                      <a:pt x="55" y="23"/>
                      <a:pt x="44" y="31"/>
                      <a:pt x="42" y="44"/>
                    </a:cubicBezTo>
                    <a:cubicBezTo>
                      <a:pt x="40" y="57"/>
                      <a:pt x="50" y="66"/>
                      <a:pt x="62" y="66"/>
                    </a:cubicBezTo>
                    <a:cubicBezTo>
                      <a:pt x="74" y="66"/>
                      <a:pt x="85" y="58"/>
                      <a:pt x="87" y="45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Freeform 19">
                <a:extLst>
                  <a:ext uri="{FF2B5EF4-FFF2-40B4-BE49-F238E27FC236}">
                    <a16:creationId xmlns:a16="http://schemas.microsoft.com/office/drawing/2014/main" id="{C7C2CAFD-AA4C-4289-9047-E22FD05C9D3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58853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1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8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3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0" name="Rectangle 20">
              <a:extLst>
                <a:ext uri="{FF2B5EF4-FFF2-40B4-BE49-F238E27FC236}">
                  <a16:creationId xmlns:a16="http://schemas.microsoft.com/office/drawing/2014/main" id="{D97041E3-A548-4C24-8788-AD625982DD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" name="Rectangle 21">
              <a:extLst>
                <a:ext uri="{FF2B5EF4-FFF2-40B4-BE49-F238E27FC236}">
                  <a16:creationId xmlns:a16="http://schemas.microsoft.com/office/drawing/2014/main" id="{43DADDBB-70E2-4D0A-98CB-2F4588488A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" name="Oval 22">
              <a:extLst>
                <a:ext uri="{FF2B5EF4-FFF2-40B4-BE49-F238E27FC236}">
                  <a16:creationId xmlns:a16="http://schemas.microsoft.com/office/drawing/2014/main" id="{AC48790F-1B31-4776-8F47-310BDC5684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" name="Freeform 23">
              <a:extLst>
                <a:ext uri="{FF2B5EF4-FFF2-40B4-BE49-F238E27FC236}">
                  <a16:creationId xmlns:a16="http://schemas.microsoft.com/office/drawing/2014/main" id="{0E469266-A34A-4FB4-B79A-3D1CA32713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" name="Freeform 24">
              <a:extLst>
                <a:ext uri="{FF2B5EF4-FFF2-40B4-BE49-F238E27FC236}">
                  <a16:creationId xmlns:a16="http://schemas.microsoft.com/office/drawing/2014/main" id="{2A332CF7-387C-4106-93ED-2E2B523B45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" name="Freeform 25">
              <a:extLst>
                <a:ext uri="{FF2B5EF4-FFF2-40B4-BE49-F238E27FC236}">
                  <a16:creationId xmlns:a16="http://schemas.microsoft.com/office/drawing/2014/main" id="{66AAAC0B-E0A9-4F75-82BE-FAA3D2AE0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F32F5E96-3849-4770-AA85-972FADF698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42376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title no descrip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1" y="2593447"/>
            <a:ext cx="4689764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401" y="3712110"/>
            <a:ext cx="4689452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602DD4A-209A-4147-A1DB-77CB5DA19478}"/>
              </a:ext>
            </a:extLst>
          </p:cNvPr>
          <p:cNvGrpSpPr/>
          <p:nvPr userDrawn="1"/>
        </p:nvGrpSpPr>
        <p:grpSpPr>
          <a:xfrm>
            <a:off x="10648110" y="5310073"/>
            <a:ext cx="1150191" cy="1151372"/>
            <a:chOff x="10648109" y="5310073"/>
            <a:chExt cx="1150191" cy="1151372"/>
          </a:xfrm>
        </p:grpSpPr>
        <p:sp>
          <p:nvSpPr>
            <p:cNvPr id="9" name="Rectangle 20">
              <a:extLst>
                <a:ext uri="{FF2B5EF4-FFF2-40B4-BE49-F238E27FC236}">
                  <a16:creationId xmlns:a16="http://schemas.microsoft.com/office/drawing/2014/main" id="{D6C5EAE9-B01B-4FAA-A91C-E1C0BC00D2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967A8A80-F28B-4732-A65D-956DDCE829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" name="Oval 22">
              <a:extLst>
                <a:ext uri="{FF2B5EF4-FFF2-40B4-BE49-F238E27FC236}">
                  <a16:creationId xmlns:a16="http://schemas.microsoft.com/office/drawing/2014/main" id="{BE1DF5F0-728B-46E7-8FFB-CD9D3AA284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" name="Freeform 23">
              <a:extLst>
                <a:ext uri="{FF2B5EF4-FFF2-40B4-BE49-F238E27FC236}">
                  <a16:creationId xmlns:a16="http://schemas.microsoft.com/office/drawing/2014/main" id="{23859540-25EC-485F-8DC0-652C13F406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" name="Freeform 24">
              <a:extLst>
                <a:ext uri="{FF2B5EF4-FFF2-40B4-BE49-F238E27FC236}">
                  <a16:creationId xmlns:a16="http://schemas.microsoft.com/office/drawing/2014/main" id="{2F006CC0-0CF4-4F71-93B7-3E5B9F663C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" name="Freeform 25">
              <a:extLst>
                <a:ext uri="{FF2B5EF4-FFF2-40B4-BE49-F238E27FC236}">
                  <a16:creationId xmlns:a16="http://schemas.microsoft.com/office/drawing/2014/main" id="{964BB10C-BEB3-4CA9-A690-BD529AE44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F2385670-C656-4767-829F-B0CB8F62C6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68052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with descrip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1" y="2593447"/>
            <a:ext cx="4689764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401" y="3712110"/>
            <a:ext cx="4689452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6E89B14-7191-473E-9D94-A0EBF7DC42C3}"/>
              </a:ext>
            </a:extLst>
          </p:cNvPr>
          <p:cNvGrpSpPr/>
          <p:nvPr userDrawn="1"/>
        </p:nvGrpSpPr>
        <p:grpSpPr>
          <a:xfrm>
            <a:off x="7813964" y="5310073"/>
            <a:ext cx="3984336" cy="1151372"/>
            <a:chOff x="7813964" y="5310073"/>
            <a:chExt cx="3984336" cy="115137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C444E51-2D96-4BC8-971E-2CC1F0702C14}"/>
                </a:ext>
              </a:extLst>
            </p:cNvPr>
            <p:cNvGrpSpPr/>
            <p:nvPr userDrawn="1"/>
          </p:nvGrpSpPr>
          <p:grpSpPr>
            <a:xfrm>
              <a:off x="7813964" y="5788335"/>
              <a:ext cx="2358245" cy="226732"/>
              <a:chOff x="19621500" y="3297238"/>
              <a:chExt cx="3170238" cy="304801"/>
            </a:xfrm>
          </p:grpSpPr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11AFC07B-9E43-46C0-BA56-88B6897B77E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2150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05F54973-D235-47D4-B246-41BD9A6FF2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29463" y="3370263"/>
                <a:ext cx="190500" cy="161925"/>
              </a:xfrm>
              <a:custGeom>
                <a:avLst/>
                <a:gdLst>
                  <a:gd name="T0" fmla="*/ 120 w 120"/>
                  <a:gd name="T1" fmla="*/ 0 h 102"/>
                  <a:gd name="T2" fmla="*/ 62 w 120"/>
                  <a:gd name="T3" fmla="*/ 102 h 102"/>
                  <a:gd name="T4" fmla="*/ 29 w 120"/>
                  <a:gd name="T5" fmla="*/ 102 h 102"/>
                  <a:gd name="T6" fmla="*/ 0 w 120"/>
                  <a:gd name="T7" fmla="*/ 0 h 102"/>
                  <a:gd name="T8" fmla="*/ 35 w 120"/>
                  <a:gd name="T9" fmla="*/ 0 h 102"/>
                  <a:gd name="T10" fmla="*/ 52 w 120"/>
                  <a:gd name="T11" fmla="*/ 67 h 102"/>
                  <a:gd name="T12" fmla="*/ 87 w 120"/>
                  <a:gd name="T13" fmla="*/ 0 h 102"/>
                  <a:gd name="T14" fmla="*/ 120 w 120"/>
                  <a:gd name="T15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102">
                    <a:moveTo>
                      <a:pt x="120" y="0"/>
                    </a:moveTo>
                    <a:lnTo>
                      <a:pt x="62" y="102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2" y="67"/>
                    </a:lnTo>
                    <a:lnTo>
                      <a:pt x="87" y="0"/>
                    </a:lnTo>
                    <a:lnTo>
                      <a:pt x="120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0EB7562F-1D72-46EA-B2D0-F60784E1653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013613" y="3363913"/>
                <a:ext cx="188913" cy="176213"/>
              </a:xfrm>
              <a:custGeom>
                <a:avLst/>
                <a:gdLst>
                  <a:gd name="T0" fmla="*/ 106 w 114"/>
                  <a:gd name="T1" fmla="*/ 88 h 106"/>
                  <a:gd name="T2" fmla="*/ 54 w 114"/>
                  <a:gd name="T3" fmla="*/ 106 h 106"/>
                  <a:gd name="T4" fmla="*/ 4 w 114"/>
                  <a:gd name="T5" fmla="*/ 55 h 106"/>
                  <a:gd name="T6" fmla="*/ 69 w 114"/>
                  <a:gd name="T7" fmla="*/ 0 h 106"/>
                  <a:gd name="T8" fmla="*/ 111 w 114"/>
                  <a:gd name="T9" fmla="*/ 44 h 106"/>
                  <a:gd name="T10" fmla="*/ 105 w 114"/>
                  <a:gd name="T11" fmla="*/ 61 h 106"/>
                  <a:gd name="T12" fmla="*/ 35 w 114"/>
                  <a:gd name="T13" fmla="*/ 61 h 106"/>
                  <a:gd name="T14" fmla="*/ 64 w 114"/>
                  <a:gd name="T15" fmla="*/ 81 h 106"/>
                  <a:gd name="T16" fmla="*/ 97 w 114"/>
                  <a:gd name="T17" fmla="*/ 72 h 106"/>
                  <a:gd name="T18" fmla="*/ 106 w 114"/>
                  <a:gd name="T19" fmla="*/ 88 h 106"/>
                  <a:gd name="T20" fmla="*/ 38 w 114"/>
                  <a:gd name="T21" fmla="*/ 40 h 106"/>
                  <a:gd name="T22" fmla="*/ 83 w 114"/>
                  <a:gd name="T23" fmla="*/ 40 h 106"/>
                  <a:gd name="T24" fmla="*/ 66 w 114"/>
                  <a:gd name="T25" fmla="*/ 22 h 106"/>
                  <a:gd name="T26" fmla="*/ 38 w 114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4" y="18"/>
                      <a:pt x="111" y="44"/>
                    </a:cubicBezTo>
                    <a:cubicBezTo>
                      <a:pt x="110" y="51"/>
                      <a:pt x="107" y="57"/>
                      <a:pt x="10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7" y="74"/>
                      <a:pt x="47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3" y="40"/>
                      <a:pt x="83" y="40"/>
                      <a:pt x="83" y="40"/>
                    </a:cubicBezTo>
                    <a:cubicBezTo>
                      <a:pt x="84" y="29"/>
                      <a:pt x="77" y="22"/>
                      <a:pt x="66" y="22"/>
                    </a:cubicBezTo>
                    <a:cubicBezTo>
                      <a:pt x="55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774530ED-6FD1-45E4-AB9E-0C0905EF76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19988" y="3365501"/>
                <a:ext cx="146050" cy="166688"/>
              </a:xfrm>
              <a:custGeom>
                <a:avLst/>
                <a:gdLst>
                  <a:gd name="T0" fmla="*/ 89 w 89"/>
                  <a:gd name="T1" fmla="*/ 2 h 100"/>
                  <a:gd name="T2" fmla="*/ 84 w 89"/>
                  <a:gd name="T3" fmla="*/ 32 h 100"/>
                  <a:gd name="T4" fmla="*/ 70 w 89"/>
                  <a:gd name="T5" fmla="*/ 30 h 100"/>
                  <a:gd name="T6" fmla="*/ 40 w 89"/>
                  <a:gd name="T7" fmla="*/ 46 h 100"/>
                  <a:gd name="T8" fmla="*/ 32 w 89"/>
                  <a:gd name="T9" fmla="*/ 100 h 100"/>
                  <a:gd name="T10" fmla="*/ 0 w 89"/>
                  <a:gd name="T11" fmla="*/ 100 h 100"/>
                  <a:gd name="T12" fmla="*/ 14 w 89"/>
                  <a:gd name="T13" fmla="*/ 6 h 100"/>
                  <a:gd name="T14" fmla="*/ 45 w 89"/>
                  <a:gd name="T15" fmla="*/ 0 h 100"/>
                  <a:gd name="T16" fmla="*/ 42 w 89"/>
                  <a:gd name="T17" fmla="*/ 22 h 100"/>
                  <a:gd name="T18" fmla="*/ 77 w 89"/>
                  <a:gd name="T19" fmla="*/ 0 h 100"/>
                  <a:gd name="T20" fmla="*/ 89 w 89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100">
                    <a:moveTo>
                      <a:pt x="89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5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9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F2F32A1C-401B-49C7-B18C-F801172C0F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69213" y="3370263"/>
                <a:ext cx="187325" cy="228600"/>
              </a:xfrm>
              <a:custGeom>
                <a:avLst/>
                <a:gdLst>
                  <a:gd name="T0" fmla="*/ 118 w 118"/>
                  <a:gd name="T1" fmla="*/ 0 h 144"/>
                  <a:gd name="T2" fmla="*/ 38 w 118"/>
                  <a:gd name="T3" fmla="*/ 144 h 144"/>
                  <a:gd name="T4" fmla="*/ 5 w 118"/>
                  <a:gd name="T5" fmla="*/ 144 h 144"/>
                  <a:gd name="T6" fmla="*/ 31 w 118"/>
                  <a:gd name="T7" fmla="*/ 102 h 144"/>
                  <a:gd name="T8" fmla="*/ 0 w 118"/>
                  <a:gd name="T9" fmla="*/ 0 h 144"/>
                  <a:gd name="T10" fmla="*/ 37 w 118"/>
                  <a:gd name="T11" fmla="*/ 0 h 144"/>
                  <a:gd name="T12" fmla="*/ 53 w 118"/>
                  <a:gd name="T13" fmla="*/ 64 h 144"/>
                  <a:gd name="T14" fmla="*/ 86 w 118"/>
                  <a:gd name="T15" fmla="*/ 0 h 144"/>
                  <a:gd name="T16" fmla="*/ 118 w 118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8" h="144">
                    <a:moveTo>
                      <a:pt x="118" y="0"/>
                    </a:moveTo>
                    <a:lnTo>
                      <a:pt x="38" y="144"/>
                    </a:lnTo>
                    <a:lnTo>
                      <a:pt x="5" y="144"/>
                    </a:lnTo>
                    <a:lnTo>
                      <a:pt x="31" y="102"/>
                    </a:lnTo>
                    <a:lnTo>
                      <a:pt x="0" y="0"/>
                    </a:lnTo>
                    <a:lnTo>
                      <a:pt x="37" y="0"/>
                    </a:lnTo>
                    <a:lnTo>
                      <a:pt x="53" y="64"/>
                    </a:lnTo>
                    <a:lnTo>
                      <a:pt x="86" y="0"/>
                    </a:lnTo>
                    <a:lnTo>
                      <a:pt x="11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11A2760D-D5BE-4A96-81A9-D5E5386035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61300" y="3370263"/>
                <a:ext cx="266700" cy="161925"/>
              </a:xfrm>
              <a:custGeom>
                <a:avLst/>
                <a:gdLst>
                  <a:gd name="T0" fmla="*/ 168 w 168"/>
                  <a:gd name="T1" fmla="*/ 0 h 102"/>
                  <a:gd name="T2" fmla="*/ 119 w 168"/>
                  <a:gd name="T3" fmla="*/ 102 h 102"/>
                  <a:gd name="T4" fmla="*/ 88 w 168"/>
                  <a:gd name="T5" fmla="*/ 102 h 102"/>
                  <a:gd name="T6" fmla="*/ 76 w 168"/>
                  <a:gd name="T7" fmla="*/ 45 h 102"/>
                  <a:gd name="T8" fmla="*/ 52 w 168"/>
                  <a:gd name="T9" fmla="*/ 102 h 102"/>
                  <a:gd name="T10" fmla="*/ 20 w 168"/>
                  <a:gd name="T11" fmla="*/ 102 h 102"/>
                  <a:gd name="T12" fmla="*/ 0 w 168"/>
                  <a:gd name="T13" fmla="*/ 0 h 102"/>
                  <a:gd name="T14" fmla="*/ 34 w 168"/>
                  <a:gd name="T15" fmla="*/ 0 h 102"/>
                  <a:gd name="T16" fmla="*/ 43 w 168"/>
                  <a:gd name="T17" fmla="*/ 67 h 102"/>
                  <a:gd name="T18" fmla="*/ 70 w 168"/>
                  <a:gd name="T19" fmla="*/ 0 h 102"/>
                  <a:gd name="T20" fmla="*/ 100 w 168"/>
                  <a:gd name="T21" fmla="*/ 0 h 102"/>
                  <a:gd name="T22" fmla="*/ 111 w 168"/>
                  <a:gd name="T23" fmla="*/ 67 h 102"/>
                  <a:gd name="T24" fmla="*/ 137 w 168"/>
                  <a:gd name="T25" fmla="*/ 0 h 102"/>
                  <a:gd name="T26" fmla="*/ 168 w 168"/>
                  <a:gd name="T27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102">
                    <a:moveTo>
                      <a:pt x="168" y="0"/>
                    </a:moveTo>
                    <a:lnTo>
                      <a:pt x="119" y="102"/>
                    </a:lnTo>
                    <a:lnTo>
                      <a:pt x="88" y="102"/>
                    </a:lnTo>
                    <a:lnTo>
                      <a:pt x="76" y="45"/>
                    </a:lnTo>
                    <a:lnTo>
                      <a:pt x="52" y="102"/>
                    </a:lnTo>
                    <a:lnTo>
                      <a:pt x="20" y="102"/>
                    </a:lnTo>
                    <a:lnTo>
                      <a:pt x="0" y="0"/>
                    </a:lnTo>
                    <a:lnTo>
                      <a:pt x="34" y="0"/>
                    </a:lnTo>
                    <a:lnTo>
                      <a:pt x="43" y="67"/>
                    </a:lnTo>
                    <a:lnTo>
                      <a:pt x="70" y="0"/>
                    </a:lnTo>
                    <a:lnTo>
                      <a:pt x="100" y="0"/>
                    </a:lnTo>
                    <a:lnTo>
                      <a:pt x="111" y="67"/>
                    </a:lnTo>
                    <a:lnTo>
                      <a:pt x="137" y="0"/>
                    </a:lnTo>
                    <a:lnTo>
                      <a:pt x="16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80F98C4B-8BF0-44AE-942F-10FEB5E45E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31175" y="3297238"/>
                <a:ext cx="192088" cy="234950"/>
              </a:xfrm>
              <a:custGeom>
                <a:avLst/>
                <a:gdLst>
                  <a:gd name="T0" fmla="*/ 112 w 116"/>
                  <a:gd name="T1" fmla="*/ 84 h 142"/>
                  <a:gd name="T2" fmla="*/ 103 w 116"/>
                  <a:gd name="T3" fmla="*/ 142 h 142"/>
                  <a:gd name="T4" fmla="*/ 71 w 116"/>
                  <a:gd name="T5" fmla="*/ 142 h 142"/>
                  <a:gd name="T6" fmla="*/ 78 w 116"/>
                  <a:gd name="T7" fmla="*/ 94 h 142"/>
                  <a:gd name="T8" fmla="*/ 64 w 116"/>
                  <a:gd name="T9" fmla="*/ 69 h 142"/>
                  <a:gd name="T10" fmla="*/ 41 w 116"/>
                  <a:gd name="T11" fmla="*/ 81 h 142"/>
                  <a:gd name="T12" fmla="*/ 32 w 116"/>
                  <a:gd name="T13" fmla="*/ 142 h 142"/>
                  <a:gd name="T14" fmla="*/ 0 w 116"/>
                  <a:gd name="T15" fmla="*/ 142 h 142"/>
                  <a:gd name="T16" fmla="*/ 19 w 116"/>
                  <a:gd name="T17" fmla="*/ 6 h 142"/>
                  <a:gd name="T18" fmla="*/ 52 w 116"/>
                  <a:gd name="T19" fmla="*/ 0 h 142"/>
                  <a:gd name="T20" fmla="*/ 44 w 116"/>
                  <a:gd name="T21" fmla="*/ 57 h 142"/>
                  <a:gd name="T22" fmla="*/ 81 w 116"/>
                  <a:gd name="T23" fmla="*/ 42 h 142"/>
                  <a:gd name="T24" fmla="*/ 112 w 116"/>
                  <a:gd name="T25" fmla="*/ 8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112" y="84"/>
                    </a:moveTo>
                    <a:cubicBezTo>
                      <a:pt x="103" y="142"/>
                      <a:pt x="103" y="142"/>
                      <a:pt x="103" y="142"/>
                    </a:cubicBezTo>
                    <a:cubicBezTo>
                      <a:pt x="71" y="142"/>
                      <a:pt x="71" y="142"/>
                      <a:pt x="71" y="142"/>
                    </a:cubicBezTo>
                    <a:cubicBezTo>
                      <a:pt x="78" y="94"/>
                      <a:pt x="78" y="94"/>
                      <a:pt x="78" y="94"/>
                    </a:cubicBezTo>
                    <a:cubicBezTo>
                      <a:pt x="80" y="78"/>
                      <a:pt x="76" y="69"/>
                      <a:pt x="64" y="69"/>
                    </a:cubicBezTo>
                    <a:cubicBezTo>
                      <a:pt x="56" y="69"/>
                      <a:pt x="47" y="74"/>
                      <a:pt x="41" y="81"/>
                    </a:cubicBezTo>
                    <a:cubicBezTo>
                      <a:pt x="32" y="142"/>
                      <a:pt x="32" y="142"/>
                      <a:pt x="32" y="14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54" y="47"/>
                      <a:pt x="68" y="42"/>
                      <a:pt x="81" y="42"/>
                    </a:cubicBezTo>
                    <a:cubicBezTo>
                      <a:pt x="101" y="42"/>
                      <a:pt x="116" y="56"/>
                      <a:pt x="112" y="8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D5901644-073E-49CF-B335-D9E2940F204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03755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5 w 115"/>
                  <a:gd name="T3" fmla="*/ 106 h 106"/>
                  <a:gd name="T4" fmla="*/ 5 w 115"/>
                  <a:gd name="T5" fmla="*/ 55 h 106"/>
                  <a:gd name="T6" fmla="*/ 70 w 115"/>
                  <a:gd name="T7" fmla="*/ 0 h 106"/>
                  <a:gd name="T8" fmla="*/ 111 w 115"/>
                  <a:gd name="T9" fmla="*/ 44 h 106"/>
                  <a:gd name="T10" fmla="*/ 106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8 w 115"/>
                  <a:gd name="T17" fmla="*/ 72 h 106"/>
                  <a:gd name="T18" fmla="*/ 106 w 115"/>
                  <a:gd name="T19" fmla="*/ 88 h 106"/>
                  <a:gd name="T20" fmla="*/ 39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9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4" y="97"/>
                      <a:pt x="76" y="106"/>
                      <a:pt x="55" y="106"/>
                    </a:cubicBezTo>
                    <a:cubicBezTo>
                      <a:pt x="21" y="106"/>
                      <a:pt x="0" y="86"/>
                      <a:pt x="5" y="55"/>
                    </a:cubicBezTo>
                    <a:cubicBezTo>
                      <a:pt x="9" y="24"/>
                      <a:pt x="37" y="0"/>
                      <a:pt x="70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6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8" y="77"/>
                      <a:pt x="98" y="72"/>
                    </a:cubicBezTo>
                    <a:lnTo>
                      <a:pt x="106" y="88"/>
                    </a:lnTo>
                    <a:close/>
                    <a:moveTo>
                      <a:pt x="39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9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28AD863A-3878-46A6-9FF9-65CBD22292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45513" y="3365501"/>
                <a:ext cx="144463" cy="166688"/>
              </a:xfrm>
              <a:custGeom>
                <a:avLst/>
                <a:gdLst>
                  <a:gd name="T0" fmla="*/ 88 w 88"/>
                  <a:gd name="T1" fmla="*/ 2 h 100"/>
                  <a:gd name="T2" fmla="*/ 84 w 88"/>
                  <a:gd name="T3" fmla="*/ 32 h 100"/>
                  <a:gd name="T4" fmla="*/ 70 w 88"/>
                  <a:gd name="T5" fmla="*/ 30 h 100"/>
                  <a:gd name="T6" fmla="*/ 40 w 88"/>
                  <a:gd name="T7" fmla="*/ 46 h 100"/>
                  <a:gd name="T8" fmla="*/ 32 w 88"/>
                  <a:gd name="T9" fmla="*/ 100 h 100"/>
                  <a:gd name="T10" fmla="*/ 0 w 88"/>
                  <a:gd name="T11" fmla="*/ 100 h 100"/>
                  <a:gd name="T12" fmla="*/ 13 w 88"/>
                  <a:gd name="T13" fmla="*/ 6 h 100"/>
                  <a:gd name="T14" fmla="*/ 45 w 88"/>
                  <a:gd name="T15" fmla="*/ 0 h 100"/>
                  <a:gd name="T16" fmla="*/ 42 w 88"/>
                  <a:gd name="T17" fmla="*/ 22 h 100"/>
                  <a:gd name="T18" fmla="*/ 77 w 88"/>
                  <a:gd name="T19" fmla="*/ 0 h 100"/>
                  <a:gd name="T20" fmla="*/ 88 w 88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8" h="100">
                    <a:moveTo>
                      <a:pt x="88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4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8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56CE9D4C-B49E-4DD9-9E06-82742ED3D83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389975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4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F3DC9FD0-B595-4F5F-892D-09A4772FC2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78900" y="3370263"/>
                <a:ext cx="184150" cy="228600"/>
              </a:xfrm>
              <a:custGeom>
                <a:avLst/>
                <a:gdLst>
                  <a:gd name="T0" fmla="*/ 116 w 116"/>
                  <a:gd name="T1" fmla="*/ 0 h 144"/>
                  <a:gd name="T2" fmla="*/ 36 w 116"/>
                  <a:gd name="T3" fmla="*/ 144 h 144"/>
                  <a:gd name="T4" fmla="*/ 4 w 116"/>
                  <a:gd name="T5" fmla="*/ 144 h 144"/>
                  <a:gd name="T6" fmla="*/ 29 w 116"/>
                  <a:gd name="T7" fmla="*/ 102 h 144"/>
                  <a:gd name="T8" fmla="*/ 0 w 116"/>
                  <a:gd name="T9" fmla="*/ 0 h 144"/>
                  <a:gd name="T10" fmla="*/ 35 w 116"/>
                  <a:gd name="T11" fmla="*/ 0 h 144"/>
                  <a:gd name="T12" fmla="*/ 51 w 116"/>
                  <a:gd name="T13" fmla="*/ 64 h 144"/>
                  <a:gd name="T14" fmla="*/ 84 w 116"/>
                  <a:gd name="T15" fmla="*/ 0 h 144"/>
                  <a:gd name="T16" fmla="*/ 116 w 116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6" h="144">
                    <a:moveTo>
                      <a:pt x="116" y="0"/>
                    </a:moveTo>
                    <a:lnTo>
                      <a:pt x="36" y="144"/>
                    </a:lnTo>
                    <a:lnTo>
                      <a:pt x="4" y="144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1" y="64"/>
                    </a:lnTo>
                    <a:lnTo>
                      <a:pt x="84" y="0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A0C470DD-7BA1-4A1D-A699-2E17DB6D2F3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85828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2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9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4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Freeform 17">
                <a:extLst>
                  <a:ext uri="{FF2B5EF4-FFF2-40B4-BE49-F238E27FC236}">
                    <a16:creationId xmlns:a16="http://schemas.microsoft.com/office/drawing/2014/main" id="{A7BBE440-5333-4A7A-8A9F-325E010467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8950" y="3365501"/>
                <a:ext cx="190500" cy="171450"/>
              </a:xfrm>
              <a:custGeom>
                <a:avLst/>
                <a:gdLst>
                  <a:gd name="T0" fmla="*/ 115 w 115"/>
                  <a:gd name="T1" fmla="*/ 0 h 103"/>
                  <a:gd name="T2" fmla="*/ 101 w 115"/>
                  <a:gd name="T3" fmla="*/ 100 h 103"/>
                  <a:gd name="T4" fmla="*/ 70 w 115"/>
                  <a:gd name="T5" fmla="*/ 100 h 103"/>
                  <a:gd name="T6" fmla="*/ 72 w 115"/>
                  <a:gd name="T7" fmla="*/ 88 h 103"/>
                  <a:gd name="T8" fmla="*/ 35 w 115"/>
                  <a:gd name="T9" fmla="*/ 103 h 103"/>
                  <a:gd name="T10" fmla="*/ 4 w 115"/>
                  <a:gd name="T11" fmla="*/ 61 h 103"/>
                  <a:gd name="T12" fmla="*/ 12 w 115"/>
                  <a:gd name="T13" fmla="*/ 6 h 103"/>
                  <a:gd name="T14" fmla="*/ 45 w 115"/>
                  <a:gd name="T15" fmla="*/ 0 h 103"/>
                  <a:gd name="T16" fmla="*/ 38 w 115"/>
                  <a:gd name="T17" fmla="*/ 51 h 103"/>
                  <a:gd name="T18" fmla="*/ 51 w 115"/>
                  <a:gd name="T19" fmla="*/ 77 h 103"/>
                  <a:gd name="T20" fmla="*/ 74 w 115"/>
                  <a:gd name="T21" fmla="*/ 66 h 103"/>
                  <a:gd name="T22" fmla="*/ 82 w 115"/>
                  <a:gd name="T23" fmla="*/ 6 h 103"/>
                  <a:gd name="T24" fmla="*/ 115 w 115"/>
                  <a:gd name="T25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103">
                    <a:moveTo>
                      <a:pt x="115" y="0"/>
                    </a:moveTo>
                    <a:cubicBezTo>
                      <a:pt x="101" y="100"/>
                      <a:pt x="101" y="100"/>
                      <a:pt x="101" y="100"/>
                    </a:cubicBezTo>
                    <a:cubicBezTo>
                      <a:pt x="70" y="100"/>
                      <a:pt x="70" y="100"/>
                      <a:pt x="70" y="100"/>
                    </a:cubicBezTo>
                    <a:cubicBezTo>
                      <a:pt x="72" y="88"/>
                      <a:pt x="72" y="88"/>
                      <a:pt x="72" y="88"/>
                    </a:cubicBezTo>
                    <a:cubicBezTo>
                      <a:pt x="62" y="98"/>
                      <a:pt x="48" y="103"/>
                      <a:pt x="35" y="103"/>
                    </a:cubicBezTo>
                    <a:cubicBezTo>
                      <a:pt x="14" y="103"/>
                      <a:pt x="0" y="89"/>
                      <a:pt x="4" y="61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38" y="51"/>
                      <a:pt x="38" y="51"/>
                      <a:pt x="38" y="51"/>
                    </a:cubicBezTo>
                    <a:cubicBezTo>
                      <a:pt x="35" y="68"/>
                      <a:pt x="40" y="77"/>
                      <a:pt x="51" y="77"/>
                    </a:cubicBezTo>
                    <a:cubicBezTo>
                      <a:pt x="59" y="77"/>
                      <a:pt x="67" y="73"/>
                      <a:pt x="74" y="66"/>
                    </a:cubicBezTo>
                    <a:cubicBezTo>
                      <a:pt x="82" y="6"/>
                      <a:pt x="82" y="6"/>
                      <a:pt x="82" y="6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18">
                <a:extLst>
                  <a:ext uri="{FF2B5EF4-FFF2-40B4-BE49-F238E27FC236}">
                    <a16:creationId xmlns:a16="http://schemas.microsoft.com/office/drawing/2014/main" id="{FCEF6A2D-3FE4-4505-99B6-92D4AE0EA9A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53588" y="3365501"/>
                <a:ext cx="233363" cy="236538"/>
              </a:xfrm>
              <a:custGeom>
                <a:avLst/>
                <a:gdLst>
                  <a:gd name="T0" fmla="*/ 138 w 141"/>
                  <a:gd name="T1" fmla="*/ 30 h 143"/>
                  <a:gd name="T2" fmla="*/ 114 w 141"/>
                  <a:gd name="T3" fmla="*/ 29 h 143"/>
                  <a:gd name="T4" fmla="*/ 117 w 141"/>
                  <a:gd name="T5" fmla="*/ 47 h 143"/>
                  <a:gd name="T6" fmla="*/ 59 w 141"/>
                  <a:gd name="T7" fmla="*/ 88 h 143"/>
                  <a:gd name="T8" fmla="*/ 54 w 141"/>
                  <a:gd name="T9" fmla="*/ 88 h 143"/>
                  <a:gd name="T10" fmla="*/ 35 w 141"/>
                  <a:gd name="T11" fmla="*/ 113 h 143"/>
                  <a:gd name="T12" fmla="*/ 84 w 141"/>
                  <a:gd name="T13" fmla="*/ 98 h 143"/>
                  <a:gd name="T14" fmla="*/ 118 w 141"/>
                  <a:gd name="T15" fmla="*/ 139 h 143"/>
                  <a:gd name="T16" fmla="*/ 84 w 141"/>
                  <a:gd name="T17" fmla="*/ 143 h 143"/>
                  <a:gd name="T18" fmla="*/ 66 w 141"/>
                  <a:gd name="T19" fmla="*/ 125 h 143"/>
                  <a:gd name="T20" fmla="*/ 18 w 141"/>
                  <a:gd name="T21" fmla="*/ 139 h 143"/>
                  <a:gd name="T22" fmla="*/ 0 w 141"/>
                  <a:gd name="T23" fmla="*/ 127 h 143"/>
                  <a:gd name="T24" fmla="*/ 27 w 141"/>
                  <a:gd name="T25" fmla="*/ 79 h 143"/>
                  <a:gd name="T26" fmla="*/ 11 w 141"/>
                  <a:gd name="T27" fmla="*/ 45 h 143"/>
                  <a:gd name="T28" fmla="*/ 71 w 141"/>
                  <a:gd name="T29" fmla="*/ 0 h 143"/>
                  <a:gd name="T30" fmla="*/ 91 w 141"/>
                  <a:gd name="T31" fmla="*/ 3 h 143"/>
                  <a:gd name="T32" fmla="*/ 141 w 141"/>
                  <a:gd name="T33" fmla="*/ 3 h 143"/>
                  <a:gd name="T34" fmla="*/ 138 w 141"/>
                  <a:gd name="T35" fmla="*/ 30 h 143"/>
                  <a:gd name="T36" fmla="*/ 87 w 141"/>
                  <a:gd name="T37" fmla="*/ 45 h 143"/>
                  <a:gd name="T38" fmla="*/ 67 w 141"/>
                  <a:gd name="T39" fmla="*/ 23 h 143"/>
                  <a:gd name="T40" fmla="*/ 42 w 141"/>
                  <a:gd name="T41" fmla="*/ 44 h 143"/>
                  <a:gd name="T42" fmla="*/ 62 w 141"/>
                  <a:gd name="T43" fmla="*/ 66 h 143"/>
                  <a:gd name="T44" fmla="*/ 87 w 141"/>
                  <a:gd name="T45" fmla="*/ 45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1" h="143">
                    <a:moveTo>
                      <a:pt x="138" y="30"/>
                    </a:moveTo>
                    <a:cubicBezTo>
                      <a:pt x="114" y="29"/>
                      <a:pt x="114" y="29"/>
                      <a:pt x="114" y="29"/>
                    </a:cubicBezTo>
                    <a:cubicBezTo>
                      <a:pt x="117" y="34"/>
                      <a:pt x="118" y="40"/>
                      <a:pt x="117" y="47"/>
                    </a:cubicBezTo>
                    <a:cubicBezTo>
                      <a:pt x="114" y="70"/>
                      <a:pt x="90" y="88"/>
                      <a:pt x="59" y="88"/>
                    </a:cubicBezTo>
                    <a:cubicBezTo>
                      <a:pt x="58" y="88"/>
                      <a:pt x="56" y="88"/>
                      <a:pt x="54" y="88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49" y="105"/>
                      <a:pt x="67" y="98"/>
                      <a:pt x="84" y="98"/>
                    </a:cubicBezTo>
                    <a:cubicBezTo>
                      <a:pt x="102" y="98"/>
                      <a:pt x="120" y="106"/>
                      <a:pt x="118" y="139"/>
                    </a:cubicBezTo>
                    <a:cubicBezTo>
                      <a:pt x="84" y="143"/>
                      <a:pt x="84" y="143"/>
                      <a:pt x="84" y="143"/>
                    </a:cubicBezTo>
                    <a:cubicBezTo>
                      <a:pt x="84" y="128"/>
                      <a:pt x="77" y="125"/>
                      <a:pt x="66" y="125"/>
                    </a:cubicBezTo>
                    <a:cubicBezTo>
                      <a:pt x="53" y="125"/>
                      <a:pt x="34" y="130"/>
                      <a:pt x="18" y="139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27" y="79"/>
                      <a:pt x="27" y="79"/>
                      <a:pt x="27" y="79"/>
                    </a:cubicBezTo>
                    <a:cubicBezTo>
                      <a:pt x="15" y="72"/>
                      <a:pt x="9" y="59"/>
                      <a:pt x="11" y="45"/>
                    </a:cubicBezTo>
                    <a:cubicBezTo>
                      <a:pt x="15" y="21"/>
                      <a:pt x="40" y="0"/>
                      <a:pt x="71" y="0"/>
                    </a:cubicBezTo>
                    <a:cubicBezTo>
                      <a:pt x="78" y="0"/>
                      <a:pt x="85" y="1"/>
                      <a:pt x="91" y="3"/>
                    </a:cubicBezTo>
                    <a:cubicBezTo>
                      <a:pt x="141" y="3"/>
                      <a:pt x="141" y="3"/>
                      <a:pt x="141" y="3"/>
                    </a:cubicBezTo>
                    <a:lnTo>
                      <a:pt x="138" y="30"/>
                    </a:lnTo>
                    <a:close/>
                    <a:moveTo>
                      <a:pt x="87" y="45"/>
                    </a:moveTo>
                    <a:cubicBezTo>
                      <a:pt x="89" y="31"/>
                      <a:pt x="79" y="23"/>
                      <a:pt x="67" y="23"/>
                    </a:cubicBezTo>
                    <a:cubicBezTo>
                      <a:pt x="55" y="23"/>
                      <a:pt x="44" y="31"/>
                      <a:pt x="42" y="44"/>
                    </a:cubicBezTo>
                    <a:cubicBezTo>
                      <a:pt x="40" y="57"/>
                      <a:pt x="50" y="66"/>
                      <a:pt x="62" y="66"/>
                    </a:cubicBezTo>
                    <a:cubicBezTo>
                      <a:pt x="74" y="66"/>
                      <a:pt x="85" y="58"/>
                      <a:pt x="87" y="45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Freeform 19">
                <a:extLst>
                  <a:ext uri="{FF2B5EF4-FFF2-40B4-BE49-F238E27FC236}">
                    <a16:creationId xmlns:a16="http://schemas.microsoft.com/office/drawing/2014/main" id="{8079612B-5E1D-4A6C-8648-3DABD0AA5B9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58853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1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8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3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494256FC-0E15-4617-9D2E-030BFAC768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" name="Rectangle 21">
              <a:extLst>
                <a:ext uri="{FF2B5EF4-FFF2-40B4-BE49-F238E27FC236}">
                  <a16:creationId xmlns:a16="http://schemas.microsoft.com/office/drawing/2014/main" id="{B762E64D-2C26-4E04-AC2F-2ECB3B9B6E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" name="Oval 22">
              <a:extLst>
                <a:ext uri="{FF2B5EF4-FFF2-40B4-BE49-F238E27FC236}">
                  <a16:creationId xmlns:a16="http://schemas.microsoft.com/office/drawing/2014/main" id="{017AE8D4-8CC8-4372-8A5F-5A6F162E48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" name="Freeform 23">
              <a:extLst>
                <a:ext uri="{FF2B5EF4-FFF2-40B4-BE49-F238E27FC236}">
                  <a16:creationId xmlns:a16="http://schemas.microsoft.com/office/drawing/2014/main" id="{A9CE9D20-3052-4EAE-A220-A0B12F9C5C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" name="Freeform 24">
              <a:extLst>
                <a:ext uri="{FF2B5EF4-FFF2-40B4-BE49-F238E27FC236}">
                  <a16:creationId xmlns:a16="http://schemas.microsoft.com/office/drawing/2014/main" id="{17DEABE0-A6BE-4E51-9883-2DA9DBF149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" name="Freeform 25">
              <a:extLst>
                <a:ext uri="{FF2B5EF4-FFF2-40B4-BE49-F238E27FC236}">
                  <a16:creationId xmlns:a16="http://schemas.microsoft.com/office/drawing/2014/main" id="{E83D6F8E-1F4F-45AB-97B9-4B0F1AC54F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" name="Freeform 26">
              <a:extLst>
                <a:ext uri="{FF2B5EF4-FFF2-40B4-BE49-F238E27FC236}">
                  <a16:creationId xmlns:a16="http://schemas.microsoft.com/office/drawing/2014/main" id="{83D3D72E-957C-4A08-A011-E71AD15872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5166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2B8DF-1061-43AB-BCB0-144798588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5B185-9886-4753-A0BD-BB20E95F78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39F230-9068-4E73-9B7F-DAA9E8DA6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BA2E6C-4675-40DF-A5D8-6FBEE1F18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F79831-A943-407F-B8FE-9167E812F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8852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no descrip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1" y="2593447"/>
            <a:ext cx="4689764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401" y="3712110"/>
            <a:ext cx="4689452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31066FA-31D4-4AC8-BAAF-B17705FB0C48}"/>
              </a:ext>
            </a:extLst>
          </p:cNvPr>
          <p:cNvGrpSpPr/>
          <p:nvPr userDrawn="1"/>
        </p:nvGrpSpPr>
        <p:grpSpPr>
          <a:xfrm>
            <a:off x="10648110" y="5310073"/>
            <a:ext cx="1150191" cy="1151372"/>
            <a:chOff x="10648109" y="5310073"/>
            <a:chExt cx="1150191" cy="1151372"/>
          </a:xfrm>
        </p:grpSpPr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6BEEC76A-8238-4CD5-8D17-24DBA42765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" name="Rectangle 21">
              <a:extLst>
                <a:ext uri="{FF2B5EF4-FFF2-40B4-BE49-F238E27FC236}">
                  <a16:creationId xmlns:a16="http://schemas.microsoft.com/office/drawing/2014/main" id="{CDD21A8E-4467-4359-803F-A1888301B1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" name="Oval 22">
              <a:extLst>
                <a:ext uri="{FF2B5EF4-FFF2-40B4-BE49-F238E27FC236}">
                  <a16:creationId xmlns:a16="http://schemas.microsoft.com/office/drawing/2014/main" id="{D4981D9A-AF1F-4BCA-9B0A-8EDAA13CF7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" name="Freeform 23">
              <a:extLst>
                <a:ext uri="{FF2B5EF4-FFF2-40B4-BE49-F238E27FC236}">
                  <a16:creationId xmlns:a16="http://schemas.microsoft.com/office/drawing/2014/main" id="{B2923068-CEB3-4B77-854B-C7ECE6714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" name="Freeform 24">
              <a:extLst>
                <a:ext uri="{FF2B5EF4-FFF2-40B4-BE49-F238E27FC236}">
                  <a16:creationId xmlns:a16="http://schemas.microsoft.com/office/drawing/2014/main" id="{CB809499-1E76-4281-BF13-BF621735E7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" name="Freeform 25">
              <a:extLst>
                <a:ext uri="{FF2B5EF4-FFF2-40B4-BE49-F238E27FC236}">
                  <a16:creationId xmlns:a16="http://schemas.microsoft.com/office/drawing/2014/main" id="{53A09255-B767-4E7D-8920-A68C296189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" name="Freeform 26">
              <a:extLst>
                <a:ext uri="{FF2B5EF4-FFF2-40B4-BE49-F238E27FC236}">
                  <a16:creationId xmlns:a16="http://schemas.microsoft.com/office/drawing/2014/main" id="{5505D8A1-AB63-4BF0-A193-8E3087CA6E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72642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etti white on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FF01BD-A841-4558-B89B-DE8A3BFC21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365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etti yellow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DE019DD-5C2A-494A-A19B-86FCB5F1F6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9053" y="0"/>
            <a:ext cx="1220105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0276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_reversed">
    <p:bg>
      <p:bgPr>
        <a:solidFill>
          <a:srgbClr val="FFCD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11C3D9D-1E30-B247-924A-5D3958D76D0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algn="ctr">
              <a:defRPr sz="1778" b="0" i="0">
                <a:latin typeface="MTN Brighter Sans Light" pitchFamily="2" charset="77"/>
              </a:defRPr>
            </a:lvl1pPr>
          </a:lstStyle>
          <a:p>
            <a:r>
              <a:rPr lang="en-GB" dirty="0"/>
              <a:t>Click icon to insert picture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A0FA39F-18D8-864E-917E-720171EC85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469" y="5422900"/>
            <a:ext cx="1720850" cy="11557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defRPr sz="2469" b="1" i="1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84468DDF-0310-C543-A5DA-C8469AC3A4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55" y="4120006"/>
            <a:ext cx="5505450" cy="3847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defRPr sz="2469" b="0" i="1">
                <a:solidFill>
                  <a:schemeClr val="bg1"/>
                </a:solidFill>
                <a:latin typeface="MTN Brighter Sans" pitchFamily="2" charset="77"/>
              </a:defRPr>
            </a:lvl1pPr>
          </a:lstStyle>
          <a:p>
            <a:pPr lvl="0"/>
            <a:r>
              <a:rPr lang="en-GB" dirty="0"/>
              <a:t>00 Month 0000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CA0287EC-C168-324F-9920-E03E7EDD82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0550" y="1093100"/>
            <a:ext cx="5299263" cy="23812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defRPr sz="9382" b="1" i="0">
                <a:solidFill>
                  <a:schemeClr val="bg1"/>
                </a:solidFill>
                <a:latin typeface="MTN Brighter Sans ExtraBold" pitchFamily="2" charset="77"/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866988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1" cy="1470026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6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fld id="{43135A2D-A2E2-4024-88B7-F84C9D6C360D}" type="datetimeFigureOut">
              <a:rPr lang="en-US" smtClean="0">
                <a:solidFill>
                  <a:prstClr val="black"/>
                </a:solidFill>
              </a:rPr>
              <a:pPr/>
              <a:t>3/9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4"/>
            <a:ext cx="3860801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2" y="63563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fld id="{3F8D487D-BAD6-403E-957C-858B6609695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8263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fld id="{43135A2D-A2E2-4024-88B7-F84C9D6C360D}" type="datetimeFigureOut">
              <a:rPr lang="en-US" smtClean="0">
                <a:solidFill>
                  <a:prstClr val="black"/>
                </a:solidFill>
              </a:rPr>
              <a:pPr/>
              <a:t>3/9/20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4"/>
            <a:ext cx="3860801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2" y="63563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fld id="{3F8D487D-BAD6-403E-957C-858B6609695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416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no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7EBE13E-A447-4709-8CD3-E52C783ED52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" y="0"/>
            <a:ext cx="121920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602682"/>
            <a:ext cx="2972985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968" y="3725226"/>
            <a:ext cx="2972787" cy="415782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90012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oval and descrip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AC20015-A3E2-42BA-A5BB-0A2E547D92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90217" y="2412182"/>
            <a:ext cx="2972985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1431571D-5602-4636-A5BD-A95D99B78E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90968" y="3531576"/>
            <a:ext cx="2972787" cy="415782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63891F-C9B5-44F6-AA59-6B838030A1C7}"/>
              </a:ext>
            </a:extLst>
          </p:cNvPr>
          <p:cNvGrpSpPr/>
          <p:nvPr userDrawn="1"/>
        </p:nvGrpSpPr>
        <p:grpSpPr>
          <a:xfrm>
            <a:off x="7813967" y="5310074"/>
            <a:ext cx="3984336" cy="1151372"/>
            <a:chOff x="7813964" y="5310073"/>
            <a:chExt cx="3984336" cy="115137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334051A-DAE6-45D4-BD2F-5A95C4B3D16F}"/>
                </a:ext>
              </a:extLst>
            </p:cNvPr>
            <p:cNvGrpSpPr/>
            <p:nvPr userDrawn="1"/>
          </p:nvGrpSpPr>
          <p:grpSpPr>
            <a:xfrm>
              <a:off x="7813964" y="5788335"/>
              <a:ext cx="2358245" cy="226732"/>
              <a:chOff x="19621500" y="3297238"/>
              <a:chExt cx="3170238" cy="304801"/>
            </a:xfrm>
          </p:grpSpPr>
          <p:sp>
            <p:nvSpPr>
              <p:cNvPr id="24" name="Freeform 5">
                <a:extLst>
                  <a:ext uri="{FF2B5EF4-FFF2-40B4-BE49-F238E27FC236}">
                    <a16:creationId xmlns:a16="http://schemas.microsoft.com/office/drawing/2014/main" id="{DADB4498-0306-4257-8E24-BE23B8C6F63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2150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Freeform 6">
                <a:extLst>
                  <a:ext uri="{FF2B5EF4-FFF2-40B4-BE49-F238E27FC236}">
                    <a16:creationId xmlns:a16="http://schemas.microsoft.com/office/drawing/2014/main" id="{2A3BDCF5-711A-492A-9751-8F3A032520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29463" y="3370263"/>
                <a:ext cx="190500" cy="161925"/>
              </a:xfrm>
              <a:custGeom>
                <a:avLst/>
                <a:gdLst>
                  <a:gd name="T0" fmla="*/ 120 w 120"/>
                  <a:gd name="T1" fmla="*/ 0 h 102"/>
                  <a:gd name="T2" fmla="*/ 62 w 120"/>
                  <a:gd name="T3" fmla="*/ 102 h 102"/>
                  <a:gd name="T4" fmla="*/ 29 w 120"/>
                  <a:gd name="T5" fmla="*/ 102 h 102"/>
                  <a:gd name="T6" fmla="*/ 0 w 120"/>
                  <a:gd name="T7" fmla="*/ 0 h 102"/>
                  <a:gd name="T8" fmla="*/ 35 w 120"/>
                  <a:gd name="T9" fmla="*/ 0 h 102"/>
                  <a:gd name="T10" fmla="*/ 52 w 120"/>
                  <a:gd name="T11" fmla="*/ 67 h 102"/>
                  <a:gd name="T12" fmla="*/ 87 w 120"/>
                  <a:gd name="T13" fmla="*/ 0 h 102"/>
                  <a:gd name="T14" fmla="*/ 120 w 120"/>
                  <a:gd name="T15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102">
                    <a:moveTo>
                      <a:pt x="120" y="0"/>
                    </a:moveTo>
                    <a:lnTo>
                      <a:pt x="62" y="102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2" y="67"/>
                    </a:lnTo>
                    <a:lnTo>
                      <a:pt x="87" y="0"/>
                    </a:lnTo>
                    <a:lnTo>
                      <a:pt x="120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Freeform 7">
                <a:extLst>
                  <a:ext uri="{FF2B5EF4-FFF2-40B4-BE49-F238E27FC236}">
                    <a16:creationId xmlns:a16="http://schemas.microsoft.com/office/drawing/2014/main" id="{764CBC1E-F9E4-4EBA-8C5D-47A527BD7E7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013613" y="3363913"/>
                <a:ext cx="188913" cy="176213"/>
              </a:xfrm>
              <a:custGeom>
                <a:avLst/>
                <a:gdLst>
                  <a:gd name="T0" fmla="*/ 106 w 114"/>
                  <a:gd name="T1" fmla="*/ 88 h 106"/>
                  <a:gd name="T2" fmla="*/ 54 w 114"/>
                  <a:gd name="T3" fmla="*/ 106 h 106"/>
                  <a:gd name="T4" fmla="*/ 4 w 114"/>
                  <a:gd name="T5" fmla="*/ 55 h 106"/>
                  <a:gd name="T6" fmla="*/ 69 w 114"/>
                  <a:gd name="T7" fmla="*/ 0 h 106"/>
                  <a:gd name="T8" fmla="*/ 111 w 114"/>
                  <a:gd name="T9" fmla="*/ 44 h 106"/>
                  <a:gd name="T10" fmla="*/ 105 w 114"/>
                  <a:gd name="T11" fmla="*/ 61 h 106"/>
                  <a:gd name="T12" fmla="*/ 35 w 114"/>
                  <a:gd name="T13" fmla="*/ 61 h 106"/>
                  <a:gd name="T14" fmla="*/ 64 w 114"/>
                  <a:gd name="T15" fmla="*/ 81 h 106"/>
                  <a:gd name="T16" fmla="*/ 97 w 114"/>
                  <a:gd name="T17" fmla="*/ 72 h 106"/>
                  <a:gd name="T18" fmla="*/ 106 w 114"/>
                  <a:gd name="T19" fmla="*/ 88 h 106"/>
                  <a:gd name="T20" fmla="*/ 38 w 114"/>
                  <a:gd name="T21" fmla="*/ 40 h 106"/>
                  <a:gd name="T22" fmla="*/ 83 w 114"/>
                  <a:gd name="T23" fmla="*/ 40 h 106"/>
                  <a:gd name="T24" fmla="*/ 66 w 114"/>
                  <a:gd name="T25" fmla="*/ 22 h 106"/>
                  <a:gd name="T26" fmla="*/ 38 w 114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4" y="18"/>
                      <a:pt x="111" y="44"/>
                    </a:cubicBezTo>
                    <a:cubicBezTo>
                      <a:pt x="110" y="51"/>
                      <a:pt x="107" y="57"/>
                      <a:pt x="10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7" y="74"/>
                      <a:pt x="47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3" y="40"/>
                      <a:pt x="83" y="40"/>
                      <a:pt x="83" y="40"/>
                    </a:cubicBezTo>
                    <a:cubicBezTo>
                      <a:pt x="84" y="29"/>
                      <a:pt x="77" y="22"/>
                      <a:pt x="66" y="22"/>
                    </a:cubicBezTo>
                    <a:cubicBezTo>
                      <a:pt x="55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Freeform 8">
                <a:extLst>
                  <a:ext uri="{FF2B5EF4-FFF2-40B4-BE49-F238E27FC236}">
                    <a16:creationId xmlns:a16="http://schemas.microsoft.com/office/drawing/2014/main" id="{9C6B693E-5834-4699-A3CD-C2B9B03909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19988" y="3365501"/>
                <a:ext cx="146050" cy="166688"/>
              </a:xfrm>
              <a:custGeom>
                <a:avLst/>
                <a:gdLst>
                  <a:gd name="T0" fmla="*/ 89 w 89"/>
                  <a:gd name="T1" fmla="*/ 2 h 100"/>
                  <a:gd name="T2" fmla="*/ 84 w 89"/>
                  <a:gd name="T3" fmla="*/ 32 h 100"/>
                  <a:gd name="T4" fmla="*/ 70 w 89"/>
                  <a:gd name="T5" fmla="*/ 30 h 100"/>
                  <a:gd name="T6" fmla="*/ 40 w 89"/>
                  <a:gd name="T7" fmla="*/ 46 h 100"/>
                  <a:gd name="T8" fmla="*/ 32 w 89"/>
                  <a:gd name="T9" fmla="*/ 100 h 100"/>
                  <a:gd name="T10" fmla="*/ 0 w 89"/>
                  <a:gd name="T11" fmla="*/ 100 h 100"/>
                  <a:gd name="T12" fmla="*/ 14 w 89"/>
                  <a:gd name="T13" fmla="*/ 6 h 100"/>
                  <a:gd name="T14" fmla="*/ 45 w 89"/>
                  <a:gd name="T15" fmla="*/ 0 h 100"/>
                  <a:gd name="T16" fmla="*/ 42 w 89"/>
                  <a:gd name="T17" fmla="*/ 22 h 100"/>
                  <a:gd name="T18" fmla="*/ 77 w 89"/>
                  <a:gd name="T19" fmla="*/ 0 h 100"/>
                  <a:gd name="T20" fmla="*/ 89 w 89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100">
                    <a:moveTo>
                      <a:pt x="89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5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9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Freeform 9">
                <a:extLst>
                  <a:ext uri="{FF2B5EF4-FFF2-40B4-BE49-F238E27FC236}">
                    <a16:creationId xmlns:a16="http://schemas.microsoft.com/office/drawing/2014/main" id="{20667EAB-20CF-4B38-BDE7-9C00E1D81C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69213" y="3370263"/>
                <a:ext cx="187325" cy="228600"/>
              </a:xfrm>
              <a:custGeom>
                <a:avLst/>
                <a:gdLst>
                  <a:gd name="T0" fmla="*/ 118 w 118"/>
                  <a:gd name="T1" fmla="*/ 0 h 144"/>
                  <a:gd name="T2" fmla="*/ 38 w 118"/>
                  <a:gd name="T3" fmla="*/ 144 h 144"/>
                  <a:gd name="T4" fmla="*/ 5 w 118"/>
                  <a:gd name="T5" fmla="*/ 144 h 144"/>
                  <a:gd name="T6" fmla="*/ 31 w 118"/>
                  <a:gd name="T7" fmla="*/ 102 h 144"/>
                  <a:gd name="T8" fmla="*/ 0 w 118"/>
                  <a:gd name="T9" fmla="*/ 0 h 144"/>
                  <a:gd name="T10" fmla="*/ 37 w 118"/>
                  <a:gd name="T11" fmla="*/ 0 h 144"/>
                  <a:gd name="T12" fmla="*/ 53 w 118"/>
                  <a:gd name="T13" fmla="*/ 64 h 144"/>
                  <a:gd name="T14" fmla="*/ 86 w 118"/>
                  <a:gd name="T15" fmla="*/ 0 h 144"/>
                  <a:gd name="T16" fmla="*/ 118 w 118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8" h="144">
                    <a:moveTo>
                      <a:pt x="118" y="0"/>
                    </a:moveTo>
                    <a:lnTo>
                      <a:pt x="38" y="144"/>
                    </a:lnTo>
                    <a:lnTo>
                      <a:pt x="5" y="144"/>
                    </a:lnTo>
                    <a:lnTo>
                      <a:pt x="31" y="102"/>
                    </a:lnTo>
                    <a:lnTo>
                      <a:pt x="0" y="0"/>
                    </a:lnTo>
                    <a:lnTo>
                      <a:pt x="37" y="0"/>
                    </a:lnTo>
                    <a:lnTo>
                      <a:pt x="53" y="64"/>
                    </a:lnTo>
                    <a:lnTo>
                      <a:pt x="86" y="0"/>
                    </a:lnTo>
                    <a:lnTo>
                      <a:pt x="11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10">
                <a:extLst>
                  <a:ext uri="{FF2B5EF4-FFF2-40B4-BE49-F238E27FC236}">
                    <a16:creationId xmlns:a16="http://schemas.microsoft.com/office/drawing/2014/main" id="{376E60B3-2678-48A1-8715-DE2C0A1B97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61300" y="3370263"/>
                <a:ext cx="266700" cy="161925"/>
              </a:xfrm>
              <a:custGeom>
                <a:avLst/>
                <a:gdLst>
                  <a:gd name="T0" fmla="*/ 168 w 168"/>
                  <a:gd name="T1" fmla="*/ 0 h 102"/>
                  <a:gd name="T2" fmla="*/ 119 w 168"/>
                  <a:gd name="T3" fmla="*/ 102 h 102"/>
                  <a:gd name="T4" fmla="*/ 88 w 168"/>
                  <a:gd name="T5" fmla="*/ 102 h 102"/>
                  <a:gd name="T6" fmla="*/ 76 w 168"/>
                  <a:gd name="T7" fmla="*/ 45 h 102"/>
                  <a:gd name="T8" fmla="*/ 52 w 168"/>
                  <a:gd name="T9" fmla="*/ 102 h 102"/>
                  <a:gd name="T10" fmla="*/ 20 w 168"/>
                  <a:gd name="T11" fmla="*/ 102 h 102"/>
                  <a:gd name="T12" fmla="*/ 0 w 168"/>
                  <a:gd name="T13" fmla="*/ 0 h 102"/>
                  <a:gd name="T14" fmla="*/ 34 w 168"/>
                  <a:gd name="T15" fmla="*/ 0 h 102"/>
                  <a:gd name="T16" fmla="*/ 43 w 168"/>
                  <a:gd name="T17" fmla="*/ 67 h 102"/>
                  <a:gd name="T18" fmla="*/ 70 w 168"/>
                  <a:gd name="T19" fmla="*/ 0 h 102"/>
                  <a:gd name="T20" fmla="*/ 100 w 168"/>
                  <a:gd name="T21" fmla="*/ 0 h 102"/>
                  <a:gd name="T22" fmla="*/ 111 w 168"/>
                  <a:gd name="T23" fmla="*/ 67 h 102"/>
                  <a:gd name="T24" fmla="*/ 137 w 168"/>
                  <a:gd name="T25" fmla="*/ 0 h 102"/>
                  <a:gd name="T26" fmla="*/ 168 w 168"/>
                  <a:gd name="T27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102">
                    <a:moveTo>
                      <a:pt x="168" y="0"/>
                    </a:moveTo>
                    <a:lnTo>
                      <a:pt x="119" y="102"/>
                    </a:lnTo>
                    <a:lnTo>
                      <a:pt x="88" y="102"/>
                    </a:lnTo>
                    <a:lnTo>
                      <a:pt x="76" y="45"/>
                    </a:lnTo>
                    <a:lnTo>
                      <a:pt x="52" y="102"/>
                    </a:lnTo>
                    <a:lnTo>
                      <a:pt x="20" y="102"/>
                    </a:lnTo>
                    <a:lnTo>
                      <a:pt x="0" y="0"/>
                    </a:lnTo>
                    <a:lnTo>
                      <a:pt x="34" y="0"/>
                    </a:lnTo>
                    <a:lnTo>
                      <a:pt x="43" y="67"/>
                    </a:lnTo>
                    <a:lnTo>
                      <a:pt x="70" y="0"/>
                    </a:lnTo>
                    <a:lnTo>
                      <a:pt x="100" y="0"/>
                    </a:lnTo>
                    <a:lnTo>
                      <a:pt x="111" y="67"/>
                    </a:lnTo>
                    <a:lnTo>
                      <a:pt x="137" y="0"/>
                    </a:lnTo>
                    <a:lnTo>
                      <a:pt x="16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9F059E97-061B-460E-8E77-F8C07698C9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31175" y="3297238"/>
                <a:ext cx="192088" cy="234950"/>
              </a:xfrm>
              <a:custGeom>
                <a:avLst/>
                <a:gdLst>
                  <a:gd name="T0" fmla="*/ 112 w 116"/>
                  <a:gd name="T1" fmla="*/ 84 h 142"/>
                  <a:gd name="T2" fmla="*/ 103 w 116"/>
                  <a:gd name="T3" fmla="*/ 142 h 142"/>
                  <a:gd name="T4" fmla="*/ 71 w 116"/>
                  <a:gd name="T5" fmla="*/ 142 h 142"/>
                  <a:gd name="T6" fmla="*/ 78 w 116"/>
                  <a:gd name="T7" fmla="*/ 94 h 142"/>
                  <a:gd name="T8" fmla="*/ 64 w 116"/>
                  <a:gd name="T9" fmla="*/ 69 h 142"/>
                  <a:gd name="T10" fmla="*/ 41 w 116"/>
                  <a:gd name="T11" fmla="*/ 81 h 142"/>
                  <a:gd name="T12" fmla="*/ 32 w 116"/>
                  <a:gd name="T13" fmla="*/ 142 h 142"/>
                  <a:gd name="T14" fmla="*/ 0 w 116"/>
                  <a:gd name="T15" fmla="*/ 142 h 142"/>
                  <a:gd name="T16" fmla="*/ 19 w 116"/>
                  <a:gd name="T17" fmla="*/ 6 h 142"/>
                  <a:gd name="T18" fmla="*/ 52 w 116"/>
                  <a:gd name="T19" fmla="*/ 0 h 142"/>
                  <a:gd name="T20" fmla="*/ 44 w 116"/>
                  <a:gd name="T21" fmla="*/ 57 h 142"/>
                  <a:gd name="T22" fmla="*/ 81 w 116"/>
                  <a:gd name="T23" fmla="*/ 42 h 142"/>
                  <a:gd name="T24" fmla="*/ 112 w 116"/>
                  <a:gd name="T25" fmla="*/ 8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112" y="84"/>
                    </a:moveTo>
                    <a:cubicBezTo>
                      <a:pt x="103" y="142"/>
                      <a:pt x="103" y="142"/>
                      <a:pt x="103" y="142"/>
                    </a:cubicBezTo>
                    <a:cubicBezTo>
                      <a:pt x="71" y="142"/>
                      <a:pt x="71" y="142"/>
                      <a:pt x="71" y="142"/>
                    </a:cubicBezTo>
                    <a:cubicBezTo>
                      <a:pt x="78" y="94"/>
                      <a:pt x="78" y="94"/>
                      <a:pt x="78" y="94"/>
                    </a:cubicBezTo>
                    <a:cubicBezTo>
                      <a:pt x="80" y="78"/>
                      <a:pt x="76" y="69"/>
                      <a:pt x="64" y="69"/>
                    </a:cubicBezTo>
                    <a:cubicBezTo>
                      <a:pt x="56" y="69"/>
                      <a:pt x="47" y="74"/>
                      <a:pt x="41" y="81"/>
                    </a:cubicBezTo>
                    <a:cubicBezTo>
                      <a:pt x="32" y="142"/>
                      <a:pt x="32" y="142"/>
                      <a:pt x="32" y="14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54" y="47"/>
                      <a:pt x="68" y="42"/>
                      <a:pt x="81" y="42"/>
                    </a:cubicBezTo>
                    <a:cubicBezTo>
                      <a:pt x="101" y="42"/>
                      <a:pt x="116" y="56"/>
                      <a:pt x="112" y="8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E2854D53-4A21-4733-89EE-FCFB7F16E93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03755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5 w 115"/>
                  <a:gd name="T3" fmla="*/ 106 h 106"/>
                  <a:gd name="T4" fmla="*/ 5 w 115"/>
                  <a:gd name="T5" fmla="*/ 55 h 106"/>
                  <a:gd name="T6" fmla="*/ 70 w 115"/>
                  <a:gd name="T7" fmla="*/ 0 h 106"/>
                  <a:gd name="T8" fmla="*/ 111 w 115"/>
                  <a:gd name="T9" fmla="*/ 44 h 106"/>
                  <a:gd name="T10" fmla="*/ 106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8 w 115"/>
                  <a:gd name="T17" fmla="*/ 72 h 106"/>
                  <a:gd name="T18" fmla="*/ 106 w 115"/>
                  <a:gd name="T19" fmla="*/ 88 h 106"/>
                  <a:gd name="T20" fmla="*/ 39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9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4" y="97"/>
                      <a:pt x="76" y="106"/>
                      <a:pt x="55" y="106"/>
                    </a:cubicBezTo>
                    <a:cubicBezTo>
                      <a:pt x="21" y="106"/>
                      <a:pt x="0" y="86"/>
                      <a:pt x="5" y="55"/>
                    </a:cubicBezTo>
                    <a:cubicBezTo>
                      <a:pt x="9" y="24"/>
                      <a:pt x="37" y="0"/>
                      <a:pt x="70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6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8" y="77"/>
                      <a:pt x="98" y="72"/>
                    </a:cubicBezTo>
                    <a:lnTo>
                      <a:pt x="106" y="88"/>
                    </a:lnTo>
                    <a:close/>
                    <a:moveTo>
                      <a:pt x="39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9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ABCB7905-47E9-4946-A48C-D3D6698736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45513" y="3365501"/>
                <a:ext cx="144463" cy="166688"/>
              </a:xfrm>
              <a:custGeom>
                <a:avLst/>
                <a:gdLst>
                  <a:gd name="T0" fmla="*/ 88 w 88"/>
                  <a:gd name="T1" fmla="*/ 2 h 100"/>
                  <a:gd name="T2" fmla="*/ 84 w 88"/>
                  <a:gd name="T3" fmla="*/ 32 h 100"/>
                  <a:gd name="T4" fmla="*/ 70 w 88"/>
                  <a:gd name="T5" fmla="*/ 30 h 100"/>
                  <a:gd name="T6" fmla="*/ 40 w 88"/>
                  <a:gd name="T7" fmla="*/ 46 h 100"/>
                  <a:gd name="T8" fmla="*/ 32 w 88"/>
                  <a:gd name="T9" fmla="*/ 100 h 100"/>
                  <a:gd name="T10" fmla="*/ 0 w 88"/>
                  <a:gd name="T11" fmla="*/ 100 h 100"/>
                  <a:gd name="T12" fmla="*/ 13 w 88"/>
                  <a:gd name="T13" fmla="*/ 6 h 100"/>
                  <a:gd name="T14" fmla="*/ 45 w 88"/>
                  <a:gd name="T15" fmla="*/ 0 h 100"/>
                  <a:gd name="T16" fmla="*/ 42 w 88"/>
                  <a:gd name="T17" fmla="*/ 22 h 100"/>
                  <a:gd name="T18" fmla="*/ 77 w 88"/>
                  <a:gd name="T19" fmla="*/ 0 h 100"/>
                  <a:gd name="T20" fmla="*/ 88 w 88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8" h="100">
                    <a:moveTo>
                      <a:pt x="88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4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8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95CFCAB6-EABF-41A4-833A-759BD2EFF3A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389975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4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7FAC4D9E-841A-41AE-B5E8-1ABF4DC6AA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78900" y="3370263"/>
                <a:ext cx="184150" cy="228600"/>
              </a:xfrm>
              <a:custGeom>
                <a:avLst/>
                <a:gdLst>
                  <a:gd name="T0" fmla="*/ 116 w 116"/>
                  <a:gd name="T1" fmla="*/ 0 h 144"/>
                  <a:gd name="T2" fmla="*/ 36 w 116"/>
                  <a:gd name="T3" fmla="*/ 144 h 144"/>
                  <a:gd name="T4" fmla="*/ 4 w 116"/>
                  <a:gd name="T5" fmla="*/ 144 h 144"/>
                  <a:gd name="T6" fmla="*/ 29 w 116"/>
                  <a:gd name="T7" fmla="*/ 102 h 144"/>
                  <a:gd name="T8" fmla="*/ 0 w 116"/>
                  <a:gd name="T9" fmla="*/ 0 h 144"/>
                  <a:gd name="T10" fmla="*/ 35 w 116"/>
                  <a:gd name="T11" fmla="*/ 0 h 144"/>
                  <a:gd name="T12" fmla="*/ 51 w 116"/>
                  <a:gd name="T13" fmla="*/ 64 h 144"/>
                  <a:gd name="T14" fmla="*/ 84 w 116"/>
                  <a:gd name="T15" fmla="*/ 0 h 144"/>
                  <a:gd name="T16" fmla="*/ 116 w 116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6" h="144">
                    <a:moveTo>
                      <a:pt x="116" y="0"/>
                    </a:moveTo>
                    <a:lnTo>
                      <a:pt x="36" y="144"/>
                    </a:lnTo>
                    <a:lnTo>
                      <a:pt x="4" y="144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1" y="64"/>
                    </a:lnTo>
                    <a:lnTo>
                      <a:pt x="84" y="0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D753FE6D-A324-4CBC-9A37-765D8C465CA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85828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2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9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4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6" name="Freeform 17">
                <a:extLst>
                  <a:ext uri="{FF2B5EF4-FFF2-40B4-BE49-F238E27FC236}">
                    <a16:creationId xmlns:a16="http://schemas.microsoft.com/office/drawing/2014/main" id="{4CCED0FA-4794-4FFA-B5D4-9CE74ADF0C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8950" y="3365501"/>
                <a:ext cx="190500" cy="171450"/>
              </a:xfrm>
              <a:custGeom>
                <a:avLst/>
                <a:gdLst>
                  <a:gd name="T0" fmla="*/ 115 w 115"/>
                  <a:gd name="T1" fmla="*/ 0 h 103"/>
                  <a:gd name="T2" fmla="*/ 101 w 115"/>
                  <a:gd name="T3" fmla="*/ 100 h 103"/>
                  <a:gd name="T4" fmla="*/ 70 w 115"/>
                  <a:gd name="T5" fmla="*/ 100 h 103"/>
                  <a:gd name="T6" fmla="*/ 72 w 115"/>
                  <a:gd name="T7" fmla="*/ 88 h 103"/>
                  <a:gd name="T8" fmla="*/ 35 w 115"/>
                  <a:gd name="T9" fmla="*/ 103 h 103"/>
                  <a:gd name="T10" fmla="*/ 4 w 115"/>
                  <a:gd name="T11" fmla="*/ 61 h 103"/>
                  <a:gd name="T12" fmla="*/ 12 w 115"/>
                  <a:gd name="T13" fmla="*/ 6 h 103"/>
                  <a:gd name="T14" fmla="*/ 45 w 115"/>
                  <a:gd name="T15" fmla="*/ 0 h 103"/>
                  <a:gd name="T16" fmla="*/ 38 w 115"/>
                  <a:gd name="T17" fmla="*/ 51 h 103"/>
                  <a:gd name="T18" fmla="*/ 51 w 115"/>
                  <a:gd name="T19" fmla="*/ 77 h 103"/>
                  <a:gd name="T20" fmla="*/ 74 w 115"/>
                  <a:gd name="T21" fmla="*/ 66 h 103"/>
                  <a:gd name="T22" fmla="*/ 82 w 115"/>
                  <a:gd name="T23" fmla="*/ 6 h 103"/>
                  <a:gd name="T24" fmla="*/ 115 w 115"/>
                  <a:gd name="T25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103">
                    <a:moveTo>
                      <a:pt x="115" y="0"/>
                    </a:moveTo>
                    <a:cubicBezTo>
                      <a:pt x="101" y="100"/>
                      <a:pt x="101" y="100"/>
                      <a:pt x="101" y="100"/>
                    </a:cubicBezTo>
                    <a:cubicBezTo>
                      <a:pt x="70" y="100"/>
                      <a:pt x="70" y="100"/>
                      <a:pt x="70" y="100"/>
                    </a:cubicBezTo>
                    <a:cubicBezTo>
                      <a:pt x="72" y="88"/>
                      <a:pt x="72" y="88"/>
                      <a:pt x="72" y="88"/>
                    </a:cubicBezTo>
                    <a:cubicBezTo>
                      <a:pt x="62" y="98"/>
                      <a:pt x="48" y="103"/>
                      <a:pt x="35" y="103"/>
                    </a:cubicBezTo>
                    <a:cubicBezTo>
                      <a:pt x="14" y="103"/>
                      <a:pt x="0" y="89"/>
                      <a:pt x="4" y="61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38" y="51"/>
                      <a:pt x="38" y="51"/>
                      <a:pt x="38" y="51"/>
                    </a:cubicBezTo>
                    <a:cubicBezTo>
                      <a:pt x="35" y="68"/>
                      <a:pt x="40" y="77"/>
                      <a:pt x="51" y="77"/>
                    </a:cubicBezTo>
                    <a:cubicBezTo>
                      <a:pt x="59" y="77"/>
                      <a:pt x="67" y="73"/>
                      <a:pt x="74" y="66"/>
                    </a:cubicBezTo>
                    <a:cubicBezTo>
                      <a:pt x="82" y="6"/>
                      <a:pt x="82" y="6"/>
                      <a:pt x="82" y="6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7" name="Freeform 18">
                <a:extLst>
                  <a:ext uri="{FF2B5EF4-FFF2-40B4-BE49-F238E27FC236}">
                    <a16:creationId xmlns:a16="http://schemas.microsoft.com/office/drawing/2014/main" id="{8C96E3CD-2D41-4A86-97B2-DA9207638A4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53588" y="3365501"/>
                <a:ext cx="233363" cy="236538"/>
              </a:xfrm>
              <a:custGeom>
                <a:avLst/>
                <a:gdLst>
                  <a:gd name="T0" fmla="*/ 138 w 141"/>
                  <a:gd name="T1" fmla="*/ 30 h 143"/>
                  <a:gd name="T2" fmla="*/ 114 w 141"/>
                  <a:gd name="T3" fmla="*/ 29 h 143"/>
                  <a:gd name="T4" fmla="*/ 117 w 141"/>
                  <a:gd name="T5" fmla="*/ 47 h 143"/>
                  <a:gd name="T6" fmla="*/ 59 w 141"/>
                  <a:gd name="T7" fmla="*/ 88 h 143"/>
                  <a:gd name="T8" fmla="*/ 54 w 141"/>
                  <a:gd name="T9" fmla="*/ 88 h 143"/>
                  <a:gd name="T10" fmla="*/ 35 w 141"/>
                  <a:gd name="T11" fmla="*/ 113 h 143"/>
                  <a:gd name="T12" fmla="*/ 84 w 141"/>
                  <a:gd name="T13" fmla="*/ 98 h 143"/>
                  <a:gd name="T14" fmla="*/ 118 w 141"/>
                  <a:gd name="T15" fmla="*/ 139 h 143"/>
                  <a:gd name="T16" fmla="*/ 84 w 141"/>
                  <a:gd name="T17" fmla="*/ 143 h 143"/>
                  <a:gd name="T18" fmla="*/ 66 w 141"/>
                  <a:gd name="T19" fmla="*/ 125 h 143"/>
                  <a:gd name="T20" fmla="*/ 18 w 141"/>
                  <a:gd name="T21" fmla="*/ 139 h 143"/>
                  <a:gd name="T22" fmla="*/ 0 w 141"/>
                  <a:gd name="T23" fmla="*/ 127 h 143"/>
                  <a:gd name="T24" fmla="*/ 27 w 141"/>
                  <a:gd name="T25" fmla="*/ 79 h 143"/>
                  <a:gd name="T26" fmla="*/ 11 w 141"/>
                  <a:gd name="T27" fmla="*/ 45 h 143"/>
                  <a:gd name="T28" fmla="*/ 71 w 141"/>
                  <a:gd name="T29" fmla="*/ 0 h 143"/>
                  <a:gd name="T30" fmla="*/ 91 w 141"/>
                  <a:gd name="T31" fmla="*/ 3 h 143"/>
                  <a:gd name="T32" fmla="*/ 141 w 141"/>
                  <a:gd name="T33" fmla="*/ 3 h 143"/>
                  <a:gd name="T34" fmla="*/ 138 w 141"/>
                  <a:gd name="T35" fmla="*/ 30 h 143"/>
                  <a:gd name="T36" fmla="*/ 87 w 141"/>
                  <a:gd name="T37" fmla="*/ 45 h 143"/>
                  <a:gd name="T38" fmla="*/ 67 w 141"/>
                  <a:gd name="T39" fmla="*/ 23 h 143"/>
                  <a:gd name="T40" fmla="*/ 42 w 141"/>
                  <a:gd name="T41" fmla="*/ 44 h 143"/>
                  <a:gd name="T42" fmla="*/ 62 w 141"/>
                  <a:gd name="T43" fmla="*/ 66 h 143"/>
                  <a:gd name="T44" fmla="*/ 87 w 141"/>
                  <a:gd name="T45" fmla="*/ 45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1" h="143">
                    <a:moveTo>
                      <a:pt x="138" y="30"/>
                    </a:moveTo>
                    <a:cubicBezTo>
                      <a:pt x="114" y="29"/>
                      <a:pt x="114" y="29"/>
                      <a:pt x="114" y="29"/>
                    </a:cubicBezTo>
                    <a:cubicBezTo>
                      <a:pt x="117" y="34"/>
                      <a:pt x="118" y="40"/>
                      <a:pt x="117" y="47"/>
                    </a:cubicBezTo>
                    <a:cubicBezTo>
                      <a:pt x="114" y="70"/>
                      <a:pt x="90" y="88"/>
                      <a:pt x="59" y="88"/>
                    </a:cubicBezTo>
                    <a:cubicBezTo>
                      <a:pt x="58" y="88"/>
                      <a:pt x="56" y="88"/>
                      <a:pt x="54" y="88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49" y="105"/>
                      <a:pt x="67" y="98"/>
                      <a:pt x="84" y="98"/>
                    </a:cubicBezTo>
                    <a:cubicBezTo>
                      <a:pt x="102" y="98"/>
                      <a:pt x="120" y="106"/>
                      <a:pt x="118" y="139"/>
                    </a:cubicBezTo>
                    <a:cubicBezTo>
                      <a:pt x="84" y="143"/>
                      <a:pt x="84" y="143"/>
                      <a:pt x="84" y="143"/>
                    </a:cubicBezTo>
                    <a:cubicBezTo>
                      <a:pt x="84" y="128"/>
                      <a:pt x="77" y="125"/>
                      <a:pt x="66" y="125"/>
                    </a:cubicBezTo>
                    <a:cubicBezTo>
                      <a:pt x="53" y="125"/>
                      <a:pt x="34" y="130"/>
                      <a:pt x="18" y="139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27" y="79"/>
                      <a:pt x="27" y="79"/>
                      <a:pt x="27" y="79"/>
                    </a:cubicBezTo>
                    <a:cubicBezTo>
                      <a:pt x="15" y="72"/>
                      <a:pt x="9" y="59"/>
                      <a:pt x="11" y="45"/>
                    </a:cubicBezTo>
                    <a:cubicBezTo>
                      <a:pt x="15" y="21"/>
                      <a:pt x="40" y="0"/>
                      <a:pt x="71" y="0"/>
                    </a:cubicBezTo>
                    <a:cubicBezTo>
                      <a:pt x="78" y="0"/>
                      <a:pt x="85" y="1"/>
                      <a:pt x="91" y="3"/>
                    </a:cubicBezTo>
                    <a:cubicBezTo>
                      <a:pt x="141" y="3"/>
                      <a:pt x="141" y="3"/>
                      <a:pt x="141" y="3"/>
                    </a:cubicBezTo>
                    <a:lnTo>
                      <a:pt x="138" y="30"/>
                    </a:lnTo>
                    <a:close/>
                    <a:moveTo>
                      <a:pt x="87" y="45"/>
                    </a:moveTo>
                    <a:cubicBezTo>
                      <a:pt x="89" y="31"/>
                      <a:pt x="79" y="23"/>
                      <a:pt x="67" y="23"/>
                    </a:cubicBezTo>
                    <a:cubicBezTo>
                      <a:pt x="55" y="23"/>
                      <a:pt x="44" y="31"/>
                      <a:pt x="42" y="44"/>
                    </a:cubicBezTo>
                    <a:cubicBezTo>
                      <a:pt x="40" y="57"/>
                      <a:pt x="50" y="66"/>
                      <a:pt x="62" y="66"/>
                    </a:cubicBezTo>
                    <a:cubicBezTo>
                      <a:pt x="74" y="66"/>
                      <a:pt x="85" y="58"/>
                      <a:pt x="87" y="45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8" name="Freeform 19">
                <a:extLst>
                  <a:ext uri="{FF2B5EF4-FFF2-40B4-BE49-F238E27FC236}">
                    <a16:creationId xmlns:a16="http://schemas.microsoft.com/office/drawing/2014/main" id="{276CCB30-2057-4F68-B6D2-8C6F4A6D040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58853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1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8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3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7" name="Rectangle 20">
              <a:extLst>
                <a:ext uri="{FF2B5EF4-FFF2-40B4-BE49-F238E27FC236}">
                  <a16:creationId xmlns:a16="http://schemas.microsoft.com/office/drawing/2014/main" id="{2B5C9E30-B166-421E-9BAD-FF47E63782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Rectangle 21">
              <a:extLst>
                <a:ext uri="{FF2B5EF4-FFF2-40B4-BE49-F238E27FC236}">
                  <a16:creationId xmlns:a16="http://schemas.microsoft.com/office/drawing/2014/main" id="{E8A8E50B-F166-45B9-BED3-1DEAD954F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Oval 22">
              <a:extLst>
                <a:ext uri="{FF2B5EF4-FFF2-40B4-BE49-F238E27FC236}">
                  <a16:creationId xmlns:a16="http://schemas.microsoft.com/office/drawing/2014/main" id="{1C86C029-DA55-4980-92EE-F9AD02382D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23">
              <a:extLst>
                <a:ext uri="{FF2B5EF4-FFF2-40B4-BE49-F238E27FC236}">
                  <a16:creationId xmlns:a16="http://schemas.microsoft.com/office/drawing/2014/main" id="{E99CEED6-A024-4175-BB0A-E71739D45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24">
              <a:extLst>
                <a:ext uri="{FF2B5EF4-FFF2-40B4-BE49-F238E27FC236}">
                  <a16:creationId xmlns:a16="http://schemas.microsoft.com/office/drawing/2014/main" id="{0A374CF8-901C-48E5-AA91-FA16C29193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25">
              <a:extLst>
                <a:ext uri="{FF2B5EF4-FFF2-40B4-BE49-F238E27FC236}">
                  <a16:creationId xmlns:a16="http://schemas.microsoft.com/office/drawing/2014/main" id="{E833E3BD-C8AA-4352-AA3D-1B4745C2C3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2247AFAC-91E7-4FD1-B1EB-D9DEFCE73E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7AA0A9CA-9508-4B06-B663-4C8E7C93CA0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" y="677021"/>
            <a:ext cx="6668655" cy="5490105"/>
          </a:xfrm>
          <a:custGeom>
            <a:avLst/>
            <a:gdLst>
              <a:gd name="connsiteX0" fmla="*/ 0 w 6668655"/>
              <a:gd name="connsiteY0" fmla="*/ 0 h 5490104"/>
              <a:gd name="connsiteX1" fmla="*/ 560043 w 6668655"/>
              <a:gd name="connsiteY1" fmla="*/ 11421 h 5490104"/>
              <a:gd name="connsiteX2" fmla="*/ 6668655 w 6668655"/>
              <a:gd name="connsiteY2" fmla="*/ 2745052 h 5490104"/>
              <a:gd name="connsiteX3" fmla="*/ 560043 w 6668655"/>
              <a:gd name="connsiteY3" fmla="*/ 5478684 h 5490104"/>
              <a:gd name="connsiteX4" fmla="*/ 0 w 6668655"/>
              <a:gd name="connsiteY4" fmla="*/ 5490104 h 5490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68655" h="5490104">
                <a:moveTo>
                  <a:pt x="0" y="0"/>
                </a:moveTo>
                <a:lnTo>
                  <a:pt x="560043" y="11421"/>
                </a:lnTo>
                <a:cubicBezTo>
                  <a:pt x="3991160" y="152137"/>
                  <a:pt x="6668655" y="1322323"/>
                  <a:pt x="6668655" y="2745052"/>
                </a:cubicBezTo>
                <a:cubicBezTo>
                  <a:pt x="6668655" y="4167782"/>
                  <a:pt x="3991160" y="5337968"/>
                  <a:pt x="560043" y="5478684"/>
                </a:cubicBezTo>
                <a:lnTo>
                  <a:pt x="0" y="549010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5868482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ov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AC20015-A3E2-42BA-A5BB-0A2E547D92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90217" y="2412182"/>
            <a:ext cx="2972985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1431571D-5602-4636-A5BD-A95D99B78E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90968" y="3531576"/>
            <a:ext cx="2972787" cy="415782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7AA0A9CA-9508-4B06-B663-4C8E7C93CA0E}"/>
              </a:ext>
            </a:extLst>
          </p:cNvPr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4" y="677021"/>
            <a:ext cx="6668655" cy="5490105"/>
          </a:xfrm>
          <a:custGeom>
            <a:avLst/>
            <a:gdLst>
              <a:gd name="connsiteX0" fmla="*/ 0 w 6668655"/>
              <a:gd name="connsiteY0" fmla="*/ 0 h 5490104"/>
              <a:gd name="connsiteX1" fmla="*/ 560043 w 6668655"/>
              <a:gd name="connsiteY1" fmla="*/ 11421 h 5490104"/>
              <a:gd name="connsiteX2" fmla="*/ 6668655 w 6668655"/>
              <a:gd name="connsiteY2" fmla="*/ 2745052 h 5490104"/>
              <a:gd name="connsiteX3" fmla="*/ 560043 w 6668655"/>
              <a:gd name="connsiteY3" fmla="*/ 5478684 h 5490104"/>
              <a:gd name="connsiteX4" fmla="*/ 0 w 6668655"/>
              <a:gd name="connsiteY4" fmla="*/ 5490104 h 5490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68655" h="5490104">
                <a:moveTo>
                  <a:pt x="0" y="0"/>
                </a:moveTo>
                <a:lnTo>
                  <a:pt x="560043" y="11421"/>
                </a:lnTo>
                <a:cubicBezTo>
                  <a:pt x="3991160" y="152137"/>
                  <a:pt x="6668655" y="1322323"/>
                  <a:pt x="6668655" y="2745052"/>
                </a:cubicBezTo>
                <a:cubicBezTo>
                  <a:pt x="6668655" y="4167782"/>
                  <a:pt x="3991160" y="5337968"/>
                  <a:pt x="560043" y="5478684"/>
                </a:cubicBezTo>
                <a:lnTo>
                  <a:pt x="0" y="549010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8685748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 yellow oval with descrip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A5838E42-1999-4204-8171-E4D8D7F7515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" y="0"/>
            <a:ext cx="12192000" cy="6858000"/>
          </a:xfrm>
          <a:custGeom>
            <a:avLst/>
            <a:gdLst>
              <a:gd name="connsiteX0" fmla="*/ 10648109 w 12192000"/>
              <a:gd name="connsiteY0" fmla="*/ 5310073 h 6858000"/>
              <a:gd name="connsiteX1" fmla="*/ 10648109 w 12192000"/>
              <a:gd name="connsiteY1" fmla="*/ 6461445 h 6858000"/>
              <a:gd name="connsiteX2" fmla="*/ 11798300 w 12192000"/>
              <a:gd name="connsiteY2" fmla="*/ 6461445 h 6858000"/>
              <a:gd name="connsiteX3" fmla="*/ 11798300 w 12192000"/>
              <a:gd name="connsiteY3" fmla="*/ 5310073 h 6858000"/>
              <a:gd name="connsiteX4" fmla="*/ 1 w 12192000"/>
              <a:gd name="connsiteY4" fmla="*/ 677021 h 6858000"/>
              <a:gd name="connsiteX5" fmla="*/ 1 w 12192000"/>
              <a:gd name="connsiteY5" fmla="*/ 6167125 h 6858000"/>
              <a:gd name="connsiteX6" fmla="*/ 560044 w 12192000"/>
              <a:gd name="connsiteY6" fmla="*/ 6155705 h 6858000"/>
              <a:gd name="connsiteX7" fmla="*/ 6668656 w 12192000"/>
              <a:gd name="connsiteY7" fmla="*/ 3422073 h 6858000"/>
              <a:gd name="connsiteX8" fmla="*/ 560044 w 12192000"/>
              <a:gd name="connsiteY8" fmla="*/ 688442 h 6858000"/>
              <a:gd name="connsiteX9" fmla="*/ 0 w 12192000"/>
              <a:gd name="connsiteY9" fmla="*/ 0 h 6858000"/>
              <a:gd name="connsiteX10" fmla="*/ 12192000 w 12192000"/>
              <a:gd name="connsiteY10" fmla="*/ 0 h 6858000"/>
              <a:gd name="connsiteX11" fmla="*/ 12192000 w 12192000"/>
              <a:gd name="connsiteY11" fmla="*/ 6858000 h 6858000"/>
              <a:gd name="connsiteX12" fmla="*/ 0 w 12192000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10648109" y="5310073"/>
                </a:moveTo>
                <a:lnTo>
                  <a:pt x="10648109" y="6461445"/>
                </a:lnTo>
                <a:lnTo>
                  <a:pt x="11798300" y="6461445"/>
                </a:lnTo>
                <a:lnTo>
                  <a:pt x="11798300" y="5310073"/>
                </a:lnTo>
                <a:close/>
                <a:moveTo>
                  <a:pt x="1" y="677021"/>
                </a:moveTo>
                <a:lnTo>
                  <a:pt x="1" y="6167125"/>
                </a:lnTo>
                <a:lnTo>
                  <a:pt x="560044" y="6155705"/>
                </a:lnTo>
                <a:cubicBezTo>
                  <a:pt x="3991162" y="6014989"/>
                  <a:pt x="6668656" y="4844803"/>
                  <a:pt x="6668656" y="3422073"/>
                </a:cubicBezTo>
                <a:cubicBezTo>
                  <a:pt x="6668656" y="1999344"/>
                  <a:pt x="3991162" y="829158"/>
                  <a:pt x="560044" y="688442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97466FA-564D-4879-B99B-8D1ED1978BC0}"/>
              </a:ext>
            </a:extLst>
          </p:cNvPr>
          <p:cNvGrpSpPr/>
          <p:nvPr userDrawn="1"/>
        </p:nvGrpSpPr>
        <p:grpSpPr>
          <a:xfrm>
            <a:off x="6" y="677021"/>
            <a:ext cx="11798299" cy="5784425"/>
            <a:chOff x="1" y="677021"/>
            <a:chExt cx="11798299" cy="5784424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3D7E3E7-2444-4C93-A81B-F9CE390608DB}"/>
                </a:ext>
              </a:extLst>
            </p:cNvPr>
            <p:cNvSpPr/>
            <p:nvPr userDrawn="1"/>
          </p:nvSpPr>
          <p:spPr>
            <a:xfrm>
              <a:off x="1" y="677021"/>
              <a:ext cx="6668655" cy="5490104"/>
            </a:xfrm>
            <a:custGeom>
              <a:avLst/>
              <a:gdLst>
                <a:gd name="connsiteX0" fmla="*/ 0 w 6668655"/>
                <a:gd name="connsiteY0" fmla="*/ 0 h 5490104"/>
                <a:gd name="connsiteX1" fmla="*/ 560043 w 6668655"/>
                <a:gd name="connsiteY1" fmla="*/ 11421 h 5490104"/>
                <a:gd name="connsiteX2" fmla="*/ 6668655 w 6668655"/>
                <a:gd name="connsiteY2" fmla="*/ 2745052 h 5490104"/>
                <a:gd name="connsiteX3" fmla="*/ 560043 w 6668655"/>
                <a:gd name="connsiteY3" fmla="*/ 5478684 h 5490104"/>
                <a:gd name="connsiteX4" fmla="*/ 0 w 6668655"/>
                <a:gd name="connsiteY4" fmla="*/ 5490104 h 54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8655" h="5490104">
                  <a:moveTo>
                    <a:pt x="0" y="0"/>
                  </a:moveTo>
                  <a:lnTo>
                    <a:pt x="560043" y="11421"/>
                  </a:lnTo>
                  <a:cubicBezTo>
                    <a:pt x="3991160" y="152137"/>
                    <a:pt x="6668655" y="1322323"/>
                    <a:pt x="6668655" y="2745052"/>
                  </a:cubicBezTo>
                  <a:cubicBezTo>
                    <a:pt x="6668655" y="4167782"/>
                    <a:pt x="3991160" y="5337968"/>
                    <a:pt x="560043" y="5478684"/>
                  </a:cubicBezTo>
                  <a:lnTo>
                    <a:pt x="0" y="54901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5" name="Rectangle 20">
              <a:extLst>
                <a:ext uri="{FF2B5EF4-FFF2-40B4-BE49-F238E27FC236}">
                  <a16:creationId xmlns:a16="http://schemas.microsoft.com/office/drawing/2014/main" id="{E467DA94-B008-4891-9F8E-DDCD8272A8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Rectangle 21">
              <a:extLst>
                <a:ext uri="{FF2B5EF4-FFF2-40B4-BE49-F238E27FC236}">
                  <a16:creationId xmlns:a16="http://schemas.microsoft.com/office/drawing/2014/main" id="{FFED743C-A26B-42AE-8A2E-050A0066E2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Oval 22">
              <a:extLst>
                <a:ext uri="{FF2B5EF4-FFF2-40B4-BE49-F238E27FC236}">
                  <a16:creationId xmlns:a16="http://schemas.microsoft.com/office/drawing/2014/main" id="{EB4D64F2-4801-4943-9CB2-B50A2A67A5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id="{6EB3114A-762D-46DD-A978-071D31D77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24">
              <a:extLst>
                <a:ext uri="{FF2B5EF4-FFF2-40B4-BE49-F238E27FC236}">
                  <a16:creationId xmlns:a16="http://schemas.microsoft.com/office/drawing/2014/main" id="{DB712391-D183-472F-BBB0-527AA79590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25">
              <a:extLst>
                <a:ext uri="{FF2B5EF4-FFF2-40B4-BE49-F238E27FC236}">
                  <a16:creationId xmlns:a16="http://schemas.microsoft.com/office/drawing/2014/main" id="{3C5FF1D7-FEA0-45CF-B070-76F8E2C37A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26">
              <a:extLst>
                <a:ext uri="{FF2B5EF4-FFF2-40B4-BE49-F238E27FC236}">
                  <a16:creationId xmlns:a16="http://schemas.microsoft.com/office/drawing/2014/main" id="{4BDE987F-5FCE-4ED1-8F51-093826CEFA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86215" y="2602682"/>
            <a:ext cx="2972985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86968" y="3725233"/>
            <a:ext cx="2972787" cy="415782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2146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660F60-13C6-4A63-A1CF-BFBC5D66E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7BA83A-81E8-4A39-A62B-6636D7372C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726B63-E4E1-423E-BDB3-6D9B9C8CF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8571E2-C988-429B-A5FC-4C13317A0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2BF0FB-95B9-4A9E-95D4-78AAF9D21E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6123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versed full oval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57C0B56E-14F5-4F28-AF96-0FB0BBCFBD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" y="426358"/>
            <a:ext cx="12192000" cy="6083069"/>
          </a:xfrm>
          <a:custGeom>
            <a:avLst/>
            <a:gdLst>
              <a:gd name="connsiteX0" fmla="*/ 6096001 w 12192000"/>
              <a:gd name="connsiteY0" fmla="*/ 0 h 6083070"/>
              <a:gd name="connsiteX1" fmla="*/ 11841565 w 12192000"/>
              <a:gd name="connsiteY1" fmla="*/ 1106837 h 6083070"/>
              <a:gd name="connsiteX2" fmla="*/ 12192000 w 12192000"/>
              <a:gd name="connsiteY2" fmla="*/ 1298267 h 6083070"/>
              <a:gd name="connsiteX3" fmla="*/ 12192000 w 12192000"/>
              <a:gd name="connsiteY3" fmla="*/ 4784804 h 6083070"/>
              <a:gd name="connsiteX4" fmla="*/ 11841565 w 12192000"/>
              <a:gd name="connsiteY4" fmla="*/ 4976234 h 6083070"/>
              <a:gd name="connsiteX5" fmla="*/ 11798300 w 12192000"/>
              <a:gd name="connsiteY5" fmla="*/ 4996514 h 6083070"/>
              <a:gd name="connsiteX6" fmla="*/ 11798300 w 12192000"/>
              <a:gd name="connsiteY6" fmla="*/ 4883716 h 6083070"/>
              <a:gd name="connsiteX7" fmla="*/ 10648109 w 12192000"/>
              <a:gd name="connsiteY7" fmla="*/ 4883716 h 6083070"/>
              <a:gd name="connsiteX8" fmla="*/ 10648109 w 12192000"/>
              <a:gd name="connsiteY8" fmla="*/ 5447969 h 6083070"/>
              <a:gd name="connsiteX9" fmla="*/ 10369724 w 12192000"/>
              <a:gd name="connsiteY9" fmla="*/ 5532481 h 6083070"/>
              <a:gd name="connsiteX10" fmla="*/ 6096001 w 12192000"/>
              <a:gd name="connsiteY10" fmla="*/ 6083070 h 6083070"/>
              <a:gd name="connsiteX11" fmla="*/ 350438 w 12192000"/>
              <a:gd name="connsiteY11" fmla="*/ 4976234 h 6083070"/>
              <a:gd name="connsiteX12" fmla="*/ 0 w 12192000"/>
              <a:gd name="connsiteY12" fmla="*/ 4784803 h 6083070"/>
              <a:gd name="connsiteX13" fmla="*/ 0 w 12192000"/>
              <a:gd name="connsiteY13" fmla="*/ 1298268 h 6083070"/>
              <a:gd name="connsiteX14" fmla="*/ 350438 w 12192000"/>
              <a:gd name="connsiteY14" fmla="*/ 1106837 h 6083070"/>
              <a:gd name="connsiteX15" fmla="*/ 6096001 w 12192000"/>
              <a:gd name="connsiteY15" fmla="*/ 0 h 6083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083070">
                <a:moveTo>
                  <a:pt x="6096001" y="0"/>
                </a:moveTo>
                <a:cubicBezTo>
                  <a:pt x="8409124" y="0"/>
                  <a:pt x="10475890" y="430864"/>
                  <a:pt x="11841565" y="1106837"/>
                </a:cubicBezTo>
                <a:lnTo>
                  <a:pt x="12192000" y="1298267"/>
                </a:lnTo>
                <a:lnTo>
                  <a:pt x="12192000" y="4784804"/>
                </a:lnTo>
                <a:lnTo>
                  <a:pt x="11841565" y="4976234"/>
                </a:lnTo>
                <a:lnTo>
                  <a:pt x="11798300" y="4996514"/>
                </a:lnTo>
                <a:lnTo>
                  <a:pt x="11798300" y="4883716"/>
                </a:lnTo>
                <a:lnTo>
                  <a:pt x="10648109" y="4883716"/>
                </a:lnTo>
                <a:lnTo>
                  <a:pt x="10648109" y="5447969"/>
                </a:lnTo>
                <a:lnTo>
                  <a:pt x="10369724" y="5532481"/>
                </a:lnTo>
                <a:cubicBezTo>
                  <a:pt x="9160103" y="5879420"/>
                  <a:pt x="7686273" y="6083070"/>
                  <a:pt x="6096001" y="6083070"/>
                </a:cubicBezTo>
                <a:cubicBezTo>
                  <a:pt x="3782879" y="6083070"/>
                  <a:pt x="1716112" y="5652207"/>
                  <a:pt x="350438" y="4976234"/>
                </a:cubicBezTo>
                <a:lnTo>
                  <a:pt x="0" y="4784803"/>
                </a:lnTo>
                <a:lnTo>
                  <a:pt x="0" y="1298268"/>
                </a:lnTo>
                <a:lnTo>
                  <a:pt x="350438" y="1106837"/>
                </a:lnTo>
                <a:cubicBezTo>
                  <a:pt x="1716112" y="430864"/>
                  <a:pt x="3782879" y="0"/>
                  <a:pt x="6096001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A1A6E3A-13FC-4D43-9758-B74431124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602682"/>
            <a:ext cx="2972985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234DCD68-84B0-4AEB-A521-3000E93B10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968" y="3722075"/>
            <a:ext cx="2972787" cy="415782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F898C5E-51DD-45D9-B0A3-3BF5F10D7238}"/>
              </a:ext>
            </a:extLst>
          </p:cNvPr>
          <p:cNvSpPr/>
          <p:nvPr userDrawn="1"/>
        </p:nvSpPr>
        <p:spPr>
          <a:xfrm>
            <a:off x="5" y="0"/>
            <a:ext cx="12192000" cy="6858000"/>
          </a:xfrm>
          <a:custGeom>
            <a:avLst/>
            <a:gdLst>
              <a:gd name="connsiteX0" fmla="*/ 0 w 12192000"/>
              <a:gd name="connsiteY0" fmla="*/ 5211160 h 6858000"/>
              <a:gd name="connsiteX1" fmla="*/ 350438 w 12192000"/>
              <a:gd name="connsiteY1" fmla="*/ 5402591 h 6858000"/>
              <a:gd name="connsiteX2" fmla="*/ 6096001 w 12192000"/>
              <a:gd name="connsiteY2" fmla="*/ 6509427 h 6858000"/>
              <a:gd name="connsiteX3" fmla="*/ 11841565 w 12192000"/>
              <a:gd name="connsiteY3" fmla="*/ 5402591 h 6858000"/>
              <a:gd name="connsiteX4" fmla="*/ 12192000 w 12192000"/>
              <a:gd name="connsiteY4" fmla="*/ 5211161 h 6858000"/>
              <a:gd name="connsiteX5" fmla="*/ 12192000 w 12192000"/>
              <a:gd name="connsiteY5" fmla="*/ 6858000 h 6858000"/>
              <a:gd name="connsiteX6" fmla="*/ 0 w 12192000"/>
              <a:gd name="connsiteY6" fmla="*/ 6858000 h 6858000"/>
              <a:gd name="connsiteX7" fmla="*/ 0 w 12192000"/>
              <a:gd name="connsiteY7" fmla="*/ 0 h 6858000"/>
              <a:gd name="connsiteX8" fmla="*/ 12192000 w 12192000"/>
              <a:gd name="connsiteY8" fmla="*/ 0 h 6858000"/>
              <a:gd name="connsiteX9" fmla="*/ 12192000 w 12192000"/>
              <a:gd name="connsiteY9" fmla="*/ 1724624 h 6858000"/>
              <a:gd name="connsiteX10" fmla="*/ 11841565 w 12192000"/>
              <a:gd name="connsiteY10" fmla="*/ 1533194 h 6858000"/>
              <a:gd name="connsiteX11" fmla="*/ 6096001 w 12192000"/>
              <a:gd name="connsiteY11" fmla="*/ 426357 h 6858000"/>
              <a:gd name="connsiteX12" fmla="*/ 350438 w 12192000"/>
              <a:gd name="connsiteY12" fmla="*/ 1533194 h 6858000"/>
              <a:gd name="connsiteX13" fmla="*/ 0 w 12192000"/>
              <a:gd name="connsiteY13" fmla="*/ 17246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0" y="5211160"/>
                </a:moveTo>
                <a:lnTo>
                  <a:pt x="350438" y="5402591"/>
                </a:lnTo>
                <a:cubicBezTo>
                  <a:pt x="1716112" y="6078564"/>
                  <a:pt x="3782879" y="6509427"/>
                  <a:pt x="6096001" y="6509427"/>
                </a:cubicBezTo>
                <a:cubicBezTo>
                  <a:pt x="8409124" y="6509427"/>
                  <a:pt x="10475890" y="6078564"/>
                  <a:pt x="11841565" y="5402591"/>
                </a:cubicBezTo>
                <a:lnTo>
                  <a:pt x="12192000" y="5211161"/>
                </a:lnTo>
                <a:lnTo>
                  <a:pt x="121920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724624"/>
                </a:lnTo>
                <a:lnTo>
                  <a:pt x="11841565" y="1533194"/>
                </a:lnTo>
                <a:cubicBezTo>
                  <a:pt x="10475890" y="857221"/>
                  <a:pt x="8409124" y="426357"/>
                  <a:pt x="6096001" y="426357"/>
                </a:cubicBezTo>
                <a:cubicBezTo>
                  <a:pt x="3782879" y="426357"/>
                  <a:pt x="1716112" y="857221"/>
                  <a:pt x="350438" y="1533194"/>
                </a:cubicBezTo>
                <a:lnTo>
                  <a:pt x="0" y="172462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07DD386-4E73-4C0C-B18C-F20BA1501F0C}"/>
              </a:ext>
            </a:extLst>
          </p:cNvPr>
          <p:cNvGrpSpPr/>
          <p:nvPr userDrawn="1"/>
        </p:nvGrpSpPr>
        <p:grpSpPr>
          <a:xfrm>
            <a:off x="10648114" y="5310074"/>
            <a:ext cx="1150191" cy="1151372"/>
            <a:chOff x="10648109" y="5310073"/>
            <a:chExt cx="1150191" cy="1151372"/>
          </a:xfrm>
        </p:grpSpPr>
        <p:sp>
          <p:nvSpPr>
            <p:cNvPr id="14" name="Rectangle 20">
              <a:extLst>
                <a:ext uri="{FF2B5EF4-FFF2-40B4-BE49-F238E27FC236}">
                  <a16:creationId xmlns:a16="http://schemas.microsoft.com/office/drawing/2014/main" id="{43B8E378-8E1F-428A-87CC-08C33C4892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" name="Rectangle 21">
              <a:extLst>
                <a:ext uri="{FF2B5EF4-FFF2-40B4-BE49-F238E27FC236}">
                  <a16:creationId xmlns:a16="http://schemas.microsoft.com/office/drawing/2014/main" id="{A4669106-6955-4C98-A118-F563DB41FC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Oval 22">
              <a:extLst>
                <a:ext uri="{FF2B5EF4-FFF2-40B4-BE49-F238E27FC236}">
                  <a16:creationId xmlns:a16="http://schemas.microsoft.com/office/drawing/2014/main" id="{265736D3-12CA-4C7F-93AC-1E56BC985A1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23">
              <a:extLst>
                <a:ext uri="{FF2B5EF4-FFF2-40B4-BE49-F238E27FC236}">
                  <a16:creationId xmlns:a16="http://schemas.microsoft.com/office/drawing/2014/main" id="{8F18FE4A-8F53-480A-A118-8B9C768D1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24">
              <a:extLst>
                <a:ext uri="{FF2B5EF4-FFF2-40B4-BE49-F238E27FC236}">
                  <a16:creationId xmlns:a16="http://schemas.microsoft.com/office/drawing/2014/main" id="{CD138586-A1D2-4B13-8DBA-F316720570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25">
              <a:extLst>
                <a:ext uri="{FF2B5EF4-FFF2-40B4-BE49-F238E27FC236}">
                  <a16:creationId xmlns:a16="http://schemas.microsoft.com/office/drawing/2014/main" id="{3962B6D9-95E5-4B27-9B82-92E167920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26">
              <a:extLst>
                <a:ext uri="{FF2B5EF4-FFF2-40B4-BE49-F238E27FC236}">
                  <a16:creationId xmlns:a16="http://schemas.microsoft.com/office/drawing/2014/main" id="{3D52C193-0BB9-4AA2-B257-678B9B49B5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15498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op arch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6A7724ED-4ECB-4083-8F1F-21BE29C55F9B}"/>
              </a:ext>
            </a:extLst>
          </p:cNvPr>
          <p:cNvGrpSpPr/>
          <p:nvPr userDrawn="1"/>
        </p:nvGrpSpPr>
        <p:grpSpPr>
          <a:xfrm>
            <a:off x="5" y="6"/>
            <a:ext cx="12192000" cy="1545071"/>
            <a:chOff x="0" y="1"/>
            <a:chExt cx="12192000" cy="1545071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0E99B5B-24FA-4BA8-8974-9BAC751FAA47}"/>
                </a:ext>
              </a:extLst>
            </p:cNvPr>
            <p:cNvSpPr/>
            <p:nvPr userDrawn="1"/>
          </p:nvSpPr>
          <p:spPr>
            <a:xfrm>
              <a:off x="0" y="1"/>
              <a:ext cx="12192000" cy="1093463"/>
            </a:xfrm>
            <a:custGeom>
              <a:avLst/>
              <a:gdLst>
                <a:gd name="connsiteX0" fmla="*/ 0 w 12192000"/>
                <a:gd name="connsiteY0" fmla="*/ 0 h 1093463"/>
                <a:gd name="connsiteX1" fmla="*/ 12192000 w 12192000"/>
                <a:gd name="connsiteY1" fmla="*/ 0 h 1093463"/>
                <a:gd name="connsiteX2" fmla="*/ 12192000 w 12192000"/>
                <a:gd name="connsiteY2" fmla="*/ 1093463 h 1093463"/>
                <a:gd name="connsiteX3" fmla="*/ 11945698 w 12192000"/>
                <a:gd name="connsiteY3" fmla="*/ 1045640 h 1093463"/>
                <a:gd name="connsiteX4" fmla="*/ 6096000 w 12192000"/>
                <a:gd name="connsiteY4" fmla="*/ 545464 h 1093463"/>
                <a:gd name="connsiteX5" fmla="*/ 246302 w 12192000"/>
                <a:gd name="connsiteY5" fmla="*/ 1045640 h 1093463"/>
                <a:gd name="connsiteX6" fmla="*/ 0 w 12192000"/>
                <a:gd name="connsiteY6" fmla="*/ 1093463 h 1093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093463">
                  <a:moveTo>
                    <a:pt x="0" y="0"/>
                  </a:moveTo>
                  <a:lnTo>
                    <a:pt x="12192000" y="0"/>
                  </a:lnTo>
                  <a:lnTo>
                    <a:pt x="12192000" y="1093463"/>
                  </a:lnTo>
                  <a:lnTo>
                    <a:pt x="11945698" y="1045640"/>
                  </a:lnTo>
                  <a:cubicBezTo>
                    <a:pt x="10206798" y="726655"/>
                    <a:pt x="8214061" y="545464"/>
                    <a:pt x="6096000" y="545464"/>
                  </a:cubicBezTo>
                  <a:cubicBezTo>
                    <a:pt x="3977940" y="545464"/>
                    <a:pt x="1985202" y="726655"/>
                    <a:pt x="246302" y="1045640"/>
                  </a:cubicBezTo>
                  <a:lnTo>
                    <a:pt x="0" y="109346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1AC83C1E-B743-4D27-BA16-D996D540D3A3}"/>
                </a:ext>
              </a:extLst>
            </p:cNvPr>
            <p:cNvGrpSpPr/>
            <p:nvPr userDrawn="1"/>
          </p:nvGrpSpPr>
          <p:grpSpPr>
            <a:xfrm>
              <a:off x="10648109" y="393700"/>
              <a:ext cx="1150191" cy="1151372"/>
              <a:chOff x="10648109" y="5310073"/>
              <a:chExt cx="1150191" cy="1151372"/>
            </a:xfrm>
          </p:grpSpPr>
          <p:sp>
            <p:nvSpPr>
              <p:cNvPr id="13" name="Rectangle 20">
                <a:extLst>
                  <a:ext uri="{FF2B5EF4-FFF2-40B4-BE49-F238E27FC236}">
                    <a16:creationId xmlns:a16="http://schemas.microsoft.com/office/drawing/2014/main" id="{849DA56D-36A8-46F5-8DC3-52E5B0D06A8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Rectangle 21">
                <a:extLst>
                  <a:ext uri="{FF2B5EF4-FFF2-40B4-BE49-F238E27FC236}">
                    <a16:creationId xmlns:a16="http://schemas.microsoft.com/office/drawing/2014/main" id="{7D5018C6-8DCC-4A03-9513-E6D02CF16AC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Oval 22">
                <a:extLst>
                  <a:ext uri="{FF2B5EF4-FFF2-40B4-BE49-F238E27FC236}">
                    <a16:creationId xmlns:a16="http://schemas.microsoft.com/office/drawing/2014/main" id="{49209306-DD61-480A-8606-71164894FCB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23">
                <a:extLst>
                  <a:ext uri="{FF2B5EF4-FFF2-40B4-BE49-F238E27FC236}">
                    <a16:creationId xmlns:a16="http://schemas.microsoft.com/office/drawing/2014/main" id="{536C08C7-E0CB-4605-A7A6-514BFA6B47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24">
                <a:extLst>
                  <a:ext uri="{FF2B5EF4-FFF2-40B4-BE49-F238E27FC236}">
                    <a16:creationId xmlns:a16="http://schemas.microsoft.com/office/drawing/2014/main" id="{B263EC93-4284-40C6-AD3D-89480FDAEB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25">
                <a:extLst>
                  <a:ext uri="{FF2B5EF4-FFF2-40B4-BE49-F238E27FC236}">
                    <a16:creationId xmlns:a16="http://schemas.microsoft.com/office/drawing/2014/main" id="{2FAE0038-09F2-47FD-B20A-AD249DB31B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26">
                <a:extLst>
                  <a:ext uri="{FF2B5EF4-FFF2-40B4-BE49-F238E27FC236}">
                    <a16:creationId xmlns:a16="http://schemas.microsoft.com/office/drawing/2014/main" id="{EAAE9E84-1E43-47E6-8C18-EB7215C002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CCB03AD-0F24-4271-88BB-986EC74E13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" y="0"/>
            <a:ext cx="12192000" cy="6858000"/>
          </a:xfrm>
          <a:custGeom>
            <a:avLst/>
            <a:gdLst>
              <a:gd name="connsiteX0" fmla="*/ 12191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1093463 h 6858000"/>
              <a:gd name="connsiteX5" fmla="*/ 246301 w 12192000"/>
              <a:gd name="connsiteY5" fmla="*/ 1045640 h 6858000"/>
              <a:gd name="connsiteX6" fmla="*/ 6095999 w 12192000"/>
              <a:gd name="connsiteY6" fmla="*/ 545464 h 6858000"/>
              <a:gd name="connsiteX7" fmla="*/ 10595936 w 12192000"/>
              <a:gd name="connsiteY7" fmla="*/ 832916 h 6858000"/>
              <a:gd name="connsiteX8" fmla="*/ 10648108 w 12192000"/>
              <a:gd name="connsiteY8" fmla="*/ 840494 h 6858000"/>
              <a:gd name="connsiteX9" fmla="*/ 10648108 w 12192000"/>
              <a:gd name="connsiteY9" fmla="*/ 1545071 h 6858000"/>
              <a:gd name="connsiteX10" fmla="*/ 11798299 w 12192000"/>
              <a:gd name="connsiteY10" fmla="*/ 1545071 h 6858000"/>
              <a:gd name="connsiteX11" fmla="*/ 11798299 w 12192000"/>
              <a:gd name="connsiteY11" fmla="*/ 1020529 h 6858000"/>
              <a:gd name="connsiteX12" fmla="*/ 11945697 w 12192000"/>
              <a:gd name="connsiteY12" fmla="*/ 1045640 h 6858000"/>
              <a:gd name="connsiteX13" fmla="*/ 12191999 w 12192000"/>
              <a:gd name="connsiteY13" fmla="*/ 109346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219199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1093463"/>
                </a:lnTo>
                <a:lnTo>
                  <a:pt x="246301" y="1045640"/>
                </a:lnTo>
                <a:cubicBezTo>
                  <a:pt x="1985201" y="726655"/>
                  <a:pt x="3977939" y="545464"/>
                  <a:pt x="6095999" y="545464"/>
                </a:cubicBezTo>
                <a:cubicBezTo>
                  <a:pt x="7684544" y="545464"/>
                  <a:pt x="9202596" y="647384"/>
                  <a:pt x="10595936" y="832916"/>
                </a:cubicBezTo>
                <a:lnTo>
                  <a:pt x="10648108" y="840494"/>
                </a:lnTo>
                <a:lnTo>
                  <a:pt x="10648108" y="1545071"/>
                </a:lnTo>
                <a:lnTo>
                  <a:pt x="11798299" y="1545071"/>
                </a:lnTo>
                <a:lnTo>
                  <a:pt x="11798299" y="1020529"/>
                </a:lnTo>
                <a:lnTo>
                  <a:pt x="11945697" y="1045640"/>
                </a:lnTo>
                <a:lnTo>
                  <a:pt x="12191999" y="1093463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A1A6E3A-13FC-4D43-9758-B74431124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602682"/>
            <a:ext cx="2972985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234DCD68-84B0-4AEB-A521-3000E93B10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968" y="3725226"/>
            <a:ext cx="2972787" cy="415782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5641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ttom arch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20ECFAB-B95E-44F4-917D-5B85ADBAD14A}"/>
              </a:ext>
            </a:extLst>
          </p:cNvPr>
          <p:cNvGrpSpPr/>
          <p:nvPr userDrawn="1"/>
        </p:nvGrpSpPr>
        <p:grpSpPr>
          <a:xfrm>
            <a:off x="5" y="5310078"/>
            <a:ext cx="12192000" cy="1547927"/>
            <a:chOff x="0" y="5310073"/>
            <a:chExt cx="12192000" cy="1547927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3C340F9-45DF-466F-95F9-DDC0351E08E1}"/>
                </a:ext>
              </a:extLst>
            </p:cNvPr>
            <p:cNvSpPr/>
            <p:nvPr userDrawn="1"/>
          </p:nvSpPr>
          <p:spPr>
            <a:xfrm>
              <a:off x="0" y="5553592"/>
              <a:ext cx="12192000" cy="1304408"/>
            </a:xfrm>
            <a:custGeom>
              <a:avLst/>
              <a:gdLst>
                <a:gd name="connsiteX0" fmla="*/ 0 w 12192000"/>
                <a:gd name="connsiteY0" fmla="*/ 0 h 1304408"/>
                <a:gd name="connsiteX1" fmla="*/ 175546 w 12192000"/>
                <a:gd name="connsiteY1" fmla="*/ 37413 h 1304408"/>
                <a:gd name="connsiteX2" fmla="*/ 6096001 w 12192000"/>
                <a:gd name="connsiteY2" fmla="*/ 552828 h 1304408"/>
                <a:gd name="connsiteX3" fmla="*/ 12016456 w 12192000"/>
                <a:gd name="connsiteY3" fmla="*/ 37413 h 1304408"/>
                <a:gd name="connsiteX4" fmla="*/ 12192000 w 12192000"/>
                <a:gd name="connsiteY4" fmla="*/ 0 h 1304408"/>
                <a:gd name="connsiteX5" fmla="*/ 12192000 w 12192000"/>
                <a:gd name="connsiteY5" fmla="*/ 1304408 h 1304408"/>
                <a:gd name="connsiteX6" fmla="*/ 0 w 12192000"/>
                <a:gd name="connsiteY6" fmla="*/ 1304408 h 1304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304408">
                  <a:moveTo>
                    <a:pt x="0" y="0"/>
                  </a:moveTo>
                  <a:lnTo>
                    <a:pt x="175546" y="37413"/>
                  </a:lnTo>
                  <a:cubicBezTo>
                    <a:pt x="1865574" y="362819"/>
                    <a:pt x="3902931" y="552828"/>
                    <a:pt x="6096001" y="552828"/>
                  </a:cubicBezTo>
                  <a:cubicBezTo>
                    <a:pt x="8289071" y="552828"/>
                    <a:pt x="10326428" y="362819"/>
                    <a:pt x="12016456" y="37413"/>
                  </a:cubicBezTo>
                  <a:lnTo>
                    <a:pt x="12192000" y="0"/>
                  </a:lnTo>
                  <a:lnTo>
                    <a:pt x="12192000" y="1304408"/>
                  </a:lnTo>
                  <a:lnTo>
                    <a:pt x="0" y="1304408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3764E5B-21C4-4393-A682-451A400034D6}"/>
                </a:ext>
              </a:extLst>
            </p:cNvPr>
            <p:cNvGrpSpPr/>
            <p:nvPr userDrawn="1"/>
          </p:nvGrpSpPr>
          <p:grpSpPr>
            <a:xfrm>
              <a:off x="10648109" y="5310073"/>
              <a:ext cx="1150191" cy="1151372"/>
              <a:chOff x="10648109" y="5310073"/>
              <a:chExt cx="1150191" cy="1151372"/>
            </a:xfrm>
          </p:grpSpPr>
          <p:sp>
            <p:nvSpPr>
              <p:cNvPr id="15" name="Rectangle 20">
                <a:extLst>
                  <a:ext uri="{FF2B5EF4-FFF2-40B4-BE49-F238E27FC236}">
                    <a16:creationId xmlns:a16="http://schemas.microsoft.com/office/drawing/2014/main" id="{F3C140BE-C8CF-40BB-9878-29545A0B864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Rectangle 21">
                <a:extLst>
                  <a:ext uri="{FF2B5EF4-FFF2-40B4-BE49-F238E27FC236}">
                    <a16:creationId xmlns:a16="http://schemas.microsoft.com/office/drawing/2014/main" id="{F7E0547F-46C4-4C32-BD70-199C48BFDEF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Oval 22">
                <a:extLst>
                  <a:ext uri="{FF2B5EF4-FFF2-40B4-BE49-F238E27FC236}">
                    <a16:creationId xmlns:a16="http://schemas.microsoft.com/office/drawing/2014/main" id="{6CF9ED75-5DD3-4695-A300-E69BCEBD5250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23">
                <a:extLst>
                  <a:ext uri="{FF2B5EF4-FFF2-40B4-BE49-F238E27FC236}">
                    <a16:creationId xmlns:a16="http://schemas.microsoft.com/office/drawing/2014/main" id="{A25045AD-209B-4FC6-AF2E-E98DAECF94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24">
                <a:extLst>
                  <a:ext uri="{FF2B5EF4-FFF2-40B4-BE49-F238E27FC236}">
                    <a16:creationId xmlns:a16="http://schemas.microsoft.com/office/drawing/2014/main" id="{F98563D7-9BE3-4E9B-9F03-6A0ACC2600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25">
                <a:extLst>
                  <a:ext uri="{FF2B5EF4-FFF2-40B4-BE49-F238E27FC236}">
                    <a16:creationId xmlns:a16="http://schemas.microsoft.com/office/drawing/2014/main" id="{51865563-3133-4B48-8EEC-A59E12EA2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26">
                <a:extLst>
                  <a:ext uri="{FF2B5EF4-FFF2-40B4-BE49-F238E27FC236}">
                    <a16:creationId xmlns:a16="http://schemas.microsoft.com/office/drawing/2014/main" id="{3333C6FE-E75E-4D95-BAB8-DF794B8DAA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7889A956-E9F5-4AAB-B0EE-C964B55E9A4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9 w 12192000"/>
              <a:gd name="connsiteY3" fmla="*/ 6858000 h 6858000"/>
              <a:gd name="connsiteX4" fmla="*/ 12191999 w 12192000"/>
              <a:gd name="connsiteY4" fmla="*/ 5553592 h 6858000"/>
              <a:gd name="connsiteX5" fmla="*/ 12016455 w 12192000"/>
              <a:gd name="connsiteY5" fmla="*/ 5591005 h 6858000"/>
              <a:gd name="connsiteX6" fmla="*/ 11798299 w 12192000"/>
              <a:gd name="connsiteY6" fmla="*/ 5629815 h 6858000"/>
              <a:gd name="connsiteX7" fmla="*/ 11798299 w 12192000"/>
              <a:gd name="connsiteY7" fmla="*/ 5310073 h 6858000"/>
              <a:gd name="connsiteX8" fmla="*/ 10648108 w 12192000"/>
              <a:gd name="connsiteY8" fmla="*/ 5310073 h 6858000"/>
              <a:gd name="connsiteX9" fmla="*/ 10648108 w 12192000"/>
              <a:gd name="connsiteY9" fmla="*/ 5813643 h 6858000"/>
              <a:gd name="connsiteX10" fmla="*/ 9978749 w 12192000"/>
              <a:gd name="connsiteY10" fmla="*/ 5897086 h 6858000"/>
              <a:gd name="connsiteX11" fmla="*/ 6096000 w 12192000"/>
              <a:gd name="connsiteY11" fmla="*/ 6106420 h 6858000"/>
              <a:gd name="connsiteX12" fmla="*/ 175545 w 12192000"/>
              <a:gd name="connsiteY12" fmla="*/ 5591005 h 6858000"/>
              <a:gd name="connsiteX13" fmla="*/ 0 w 12192000"/>
              <a:gd name="connsiteY13" fmla="*/ 55535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9" y="6858000"/>
                </a:lnTo>
                <a:lnTo>
                  <a:pt x="12191999" y="5553592"/>
                </a:lnTo>
                <a:lnTo>
                  <a:pt x="12016455" y="5591005"/>
                </a:lnTo>
                <a:lnTo>
                  <a:pt x="11798299" y="5629815"/>
                </a:lnTo>
                <a:lnTo>
                  <a:pt x="11798299" y="5310073"/>
                </a:lnTo>
                <a:lnTo>
                  <a:pt x="10648108" y="5310073"/>
                </a:lnTo>
                <a:lnTo>
                  <a:pt x="10648108" y="5813643"/>
                </a:lnTo>
                <a:lnTo>
                  <a:pt x="9978749" y="5897086"/>
                </a:lnTo>
                <a:cubicBezTo>
                  <a:pt x="8776512" y="6032198"/>
                  <a:pt x="7466669" y="6106420"/>
                  <a:pt x="6096000" y="6106420"/>
                </a:cubicBezTo>
                <a:cubicBezTo>
                  <a:pt x="3902930" y="6106420"/>
                  <a:pt x="1865573" y="5916411"/>
                  <a:pt x="175545" y="5591005"/>
                </a:cubicBezTo>
                <a:lnTo>
                  <a:pt x="0" y="5553593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A1A6E3A-13FC-4D43-9758-B74431124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602682"/>
            <a:ext cx="2972985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234DCD68-84B0-4AEB-A521-3000E93B10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968" y="3721489"/>
            <a:ext cx="2972787" cy="415782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88958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ttom arch no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8BAAF824-C54A-4085-898C-F868EC64EA12}"/>
              </a:ext>
            </a:extLst>
          </p:cNvPr>
          <p:cNvSpPr/>
          <p:nvPr userDrawn="1"/>
        </p:nvSpPr>
        <p:spPr>
          <a:xfrm>
            <a:off x="5" y="5553593"/>
            <a:ext cx="12192000" cy="1304408"/>
          </a:xfrm>
          <a:custGeom>
            <a:avLst/>
            <a:gdLst>
              <a:gd name="connsiteX0" fmla="*/ 0 w 12192000"/>
              <a:gd name="connsiteY0" fmla="*/ 0 h 1304408"/>
              <a:gd name="connsiteX1" fmla="*/ 175546 w 12192000"/>
              <a:gd name="connsiteY1" fmla="*/ 37413 h 1304408"/>
              <a:gd name="connsiteX2" fmla="*/ 6096001 w 12192000"/>
              <a:gd name="connsiteY2" fmla="*/ 552828 h 1304408"/>
              <a:gd name="connsiteX3" fmla="*/ 12016456 w 12192000"/>
              <a:gd name="connsiteY3" fmla="*/ 37413 h 1304408"/>
              <a:gd name="connsiteX4" fmla="*/ 12192000 w 12192000"/>
              <a:gd name="connsiteY4" fmla="*/ 0 h 1304408"/>
              <a:gd name="connsiteX5" fmla="*/ 12192000 w 12192000"/>
              <a:gd name="connsiteY5" fmla="*/ 1304408 h 1304408"/>
              <a:gd name="connsiteX6" fmla="*/ 0 w 12192000"/>
              <a:gd name="connsiteY6" fmla="*/ 1304408 h 1304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1304408">
                <a:moveTo>
                  <a:pt x="0" y="0"/>
                </a:moveTo>
                <a:lnTo>
                  <a:pt x="175546" y="37413"/>
                </a:lnTo>
                <a:cubicBezTo>
                  <a:pt x="1865574" y="362819"/>
                  <a:pt x="3902931" y="552828"/>
                  <a:pt x="6096001" y="552828"/>
                </a:cubicBezTo>
                <a:cubicBezTo>
                  <a:pt x="8289071" y="552828"/>
                  <a:pt x="10326428" y="362819"/>
                  <a:pt x="12016456" y="37413"/>
                </a:cubicBezTo>
                <a:lnTo>
                  <a:pt x="12192000" y="0"/>
                </a:lnTo>
                <a:lnTo>
                  <a:pt x="12192000" y="1304408"/>
                </a:lnTo>
                <a:lnTo>
                  <a:pt x="0" y="1304408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41B164F-3791-4A46-B5DA-C81CDE51E07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" y="1"/>
            <a:ext cx="12192000" cy="6106421"/>
          </a:xfrm>
          <a:custGeom>
            <a:avLst/>
            <a:gdLst>
              <a:gd name="connsiteX0" fmla="*/ 0 w 12192000"/>
              <a:gd name="connsiteY0" fmla="*/ 0 h 6106420"/>
              <a:gd name="connsiteX1" fmla="*/ 12192000 w 12192000"/>
              <a:gd name="connsiteY1" fmla="*/ 0 h 6106420"/>
              <a:gd name="connsiteX2" fmla="*/ 12192000 w 12192000"/>
              <a:gd name="connsiteY2" fmla="*/ 5553592 h 6106420"/>
              <a:gd name="connsiteX3" fmla="*/ 12016456 w 12192000"/>
              <a:gd name="connsiteY3" fmla="*/ 5591005 h 6106420"/>
              <a:gd name="connsiteX4" fmla="*/ 6096001 w 12192000"/>
              <a:gd name="connsiteY4" fmla="*/ 6106420 h 6106420"/>
              <a:gd name="connsiteX5" fmla="*/ 175546 w 12192000"/>
              <a:gd name="connsiteY5" fmla="*/ 5591005 h 6106420"/>
              <a:gd name="connsiteX6" fmla="*/ 0 w 12192000"/>
              <a:gd name="connsiteY6" fmla="*/ 5553592 h 6106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106420">
                <a:moveTo>
                  <a:pt x="0" y="0"/>
                </a:moveTo>
                <a:lnTo>
                  <a:pt x="12192000" y="0"/>
                </a:lnTo>
                <a:lnTo>
                  <a:pt x="12192000" y="5553592"/>
                </a:lnTo>
                <a:lnTo>
                  <a:pt x="12016456" y="5591005"/>
                </a:lnTo>
                <a:cubicBezTo>
                  <a:pt x="10326428" y="5916411"/>
                  <a:pt x="8289071" y="6106420"/>
                  <a:pt x="6096001" y="6106420"/>
                </a:cubicBezTo>
                <a:cubicBezTo>
                  <a:pt x="3902931" y="6106420"/>
                  <a:pt x="1865574" y="5916411"/>
                  <a:pt x="175546" y="5591005"/>
                </a:cubicBezTo>
                <a:lnTo>
                  <a:pt x="0" y="5553592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A1A6E3A-13FC-4D43-9758-B74431124C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602682"/>
            <a:ext cx="2972985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234DCD68-84B0-4AEB-A521-3000E93B10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968" y="3725226"/>
            <a:ext cx="2972787" cy="415782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051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A5838E42-1999-4204-8171-E4D8D7F7515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" y="0"/>
            <a:ext cx="12192000" cy="6858000"/>
          </a:xfrm>
          <a:custGeom>
            <a:avLst/>
            <a:gdLst>
              <a:gd name="connsiteX0" fmla="*/ 10648109 w 12192000"/>
              <a:gd name="connsiteY0" fmla="*/ 5310073 h 6858000"/>
              <a:gd name="connsiteX1" fmla="*/ 10648109 w 12192000"/>
              <a:gd name="connsiteY1" fmla="*/ 6461445 h 6858000"/>
              <a:gd name="connsiteX2" fmla="*/ 11798300 w 12192000"/>
              <a:gd name="connsiteY2" fmla="*/ 6461445 h 6858000"/>
              <a:gd name="connsiteX3" fmla="*/ 11798300 w 12192000"/>
              <a:gd name="connsiteY3" fmla="*/ 5310073 h 6858000"/>
              <a:gd name="connsiteX4" fmla="*/ 1 w 12192000"/>
              <a:gd name="connsiteY4" fmla="*/ 677021 h 6858000"/>
              <a:gd name="connsiteX5" fmla="*/ 1 w 12192000"/>
              <a:gd name="connsiteY5" fmla="*/ 6167125 h 6858000"/>
              <a:gd name="connsiteX6" fmla="*/ 560044 w 12192000"/>
              <a:gd name="connsiteY6" fmla="*/ 6155705 h 6858000"/>
              <a:gd name="connsiteX7" fmla="*/ 6668656 w 12192000"/>
              <a:gd name="connsiteY7" fmla="*/ 3422073 h 6858000"/>
              <a:gd name="connsiteX8" fmla="*/ 560044 w 12192000"/>
              <a:gd name="connsiteY8" fmla="*/ 688442 h 6858000"/>
              <a:gd name="connsiteX9" fmla="*/ 0 w 12192000"/>
              <a:gd name="connsiteY9" fmla="*/ 0 h 6858000"/>
              <a:gd name="connsiteX10" fmla="*/ 12192000 w 12192000"/>
              <a:gd name="connsiteY10" fmla="*/ 0 h 6858000"/>
              <a:gd name="connsiteX11" fmla="*/ 12192000 w 12192000"/>
              <a:gd name="connsiteY11" fmla="*/ 6858000 h 6858000"/>
              <a:gd name="connsiteX12" fmla="*/ 0 w 12192000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10648109" y="5310073"/>
                </a:moveTo>
                <a:lnTo>
                  <a:pt x="10648109" y="6461445"/>
                </a:lnTo>
                <a:lnTo>
                  <a:pt x="11798300" y="6461445"/>
                </a:lnTo>
                <a:lnTo>
                  <a:pt x="11798300" y="5310073"/>
                </a:lnTo>
                <a:close/>
                <a:moveTo>
                  <a:pt x="1" y="677021"/>
                </a:moveTo>
                <a:lnTo>
                  <a:pt x="1" y="6167125"/>
                </a:lnTo>
                <a:lnTo>
                  <a:pt x="560044" y="6155705"/>
                </a:lnTo>
                <a:cubicBezTo>
                  <a:pt x="3991162" y="6014989"/>
                  <a:pt x="6668656" y="4844803"/>
                  <a:pt x="6668656" y="3422073"/>
                </a:cubicBezTo>
                <a:cubicBezTo>
                  <a:pt x="6668656" y="1999344"/>
                  <a:pt x="3991162" y="829158"/>
                  <a:pt x="560044" y="688442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GB" dirty="0"/>
              <a:t>Add pi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97466FA-564D-4879-B99B-8D1ED1978BC0}"/>
              </a:ext>
            </a:extLst>
          </p:cNvPr>
          <p:cNvGrpSpPr/>
          <p:nvPr userDrawn="1"/>
        </p:nvGrpSpPr>
        <p:grpSpPr>
          <a:xfrm>
            <a:off x="6" y="677021"/>
            <a:ext cx="11798299" cy="5784425"/>
            <a:chOff x="1" y="677021"/>
            <a:chExt cx="11798299" cy="5784424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3D7E3E7-2444-4C93-A81B-F9CE390608DB}"/>
                </a:ext>
              </a:extLst>
            </p:cNvPr>
            <p:cNvSpPr/>
            <p:nvPr userDrawn="1"/>
          </p:nvSpPr>
          <p:spPr>
            <a:xfrm>
              <a:off x="1" y="677021"/>
              <a:ext cx="6668655" cy="5490104"/>
            </a:xfrm>
            <a:custGeom>
              <a:avLst/>
              <a:gdLst>
                <a:gd name="connsiteX0" fmla="*/ 0 w 6668655"/>
                <a:gd name="connsiteY0" fmla="*/ 0 h 5490104"/>
                <a:gd name="connsiteX1" fmla="*/ 560043 w 6668655"/>
                <a:gd name="connsiteY1" fmla="*/ 11421 h 5490104"/>
                <a:gd name="connsiteX2" fmla="*/ 6668655 w 6668655"/>
                <a:gd name="connsiteY2" fmla="*/ 2745052 h 5490104"/>
                <a:gd name="connsiteX3" fmla="*/ 560043 w 6668655"/>
                <a:gd name="connsiteY3" fmla="*/ 5478684 h 5490104"/>
                <a:gd name="connsiteX4" fmla="*/ 0 w 6668655"/>
                <a:gd name="connsiteY4" fmla="*/ 5490104 h 54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8655" h="5490104">
                  <a:moveTo>
                    <a:pt x="0" y="0"/>
                  </a:moveTo>
                  <a:lnTo>
                    <a:pt x="560043" y="11421"/>
                  </a:lnTo>
                  <a:cubicBezTo>
                    <a:pt x="3991160" y="152137"/>
                    <a:pt x="6668655" y="1322323"/>
                    <a:pt x="6668655" y="2745052"/>
                  </a:cubicBezTo>
                  <a:cubicBezTo>
                    <a:pt x="6668655" y="4167782"/>
                    <a:pt x="3991160" y="5337968"/>
                    <a:pt x="560043" y="5478684"/>
                  </a:cubicBezTo>
                  <a:lnTo>
                    <a:pt x="0" y="54901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5" name="Rectangle 20">
              <a:extLst>
                <a:ext uri="{FF2B5EF4-FFF2-40B4-BE49-F238E27FC236}">
                  <a16:creationId xmlns:a16="http://schemas.microsoft.com/office/drawing/2014/main" id="{E467DA94-B008-4891-9F8E-DDCD8272A8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Rectangle 21">
              <a:extLst>
                <a:ext uri="{FF2B5EF4-FFF2-40B4-BE49-F238E27FC236}">
                  <a16:creationId xmlns:a16="http://schemas.microsoft.com/office/drawing/2014/main" id="{FFED743C-A26B-42AE-8A2E-050A0066E2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Oval 22">
              <a:extLst>
                <a:ext uri="{FF2B5EF4-FFF2-40B4-BE49-F238E27FC236}">
                  <a16:creationId xmlns:a16="http://schemas.microsoft.com/office/drawing/2014/main" id="{EB4D64F2-4801-4943-9CB2-B50A2A67A5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id="{6EB3114A-762D-46DD-A978-071D31D77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24">
              <a:extLst>
                <a:ext uri="{FF2B5EF4-FFF2-40B4-BE49-F238E27FC236}">
                  <a16:creationId xmlns:a16="http://schemas.microsoft.com/office/drawing/2014/main" id="{DB712391-D183-472F-BBB0-527AA79590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25">
              <a:extLst>
                <a:ext uri="{FF2B5EF4-FFF2-40B4-BE49-F238E27FC236}">
                  <a16:creationId xmlns:a16="http://schemas.microsoft.com/office/drawing/2014/main" id="{3C5FF1D7-FEA0-45CF-B070-76F8E2C37A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26">
              <a:extLst>
                <a:ext uri="{FF2B5EF4-FFF2-40B4-BE49-F238E27FC236}">
                  <a16:creationId xmlns:a16="http://schemas.microsoft.com/office/drawing/2014/main" id="{4BDE987F-5FCE-4ED1-8F51-093826CEFA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6AF795BC-2CD6-4A78-A9E1-CB1DFF014C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920181"/>
            <a:ext cx="2972985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400"/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2888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5">
            <a:extLst>
              <a:ext uri="{FF2B5EF4-FFF2-40B4-BE49-F238E27FC236}">
                <a16:creationId xmlns:a16="http://schemas.microsoft.com/office/drawing/2014/main" id="{9B872153-C9CE-4CAE-82F7-F822578EFB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49" r="19749"/>
          <a:stretch>
            <a:fillRect/>
          </a:stretch>
        </p:blipFill>
        <p:spPr>
          <a:xfrm>
            <a:off x="4" y="616866"/>
            <a:ext cx="6668655" cy="5490105"/>
          </a:xfrm>
          <a:custGeom>
            <a:avLst/>
            <a:gdLst>
              <a:gd name="connsiteX0" fmla="*/ 0 w 6668655"/>
              <a:gd name="connsiteY0" fmla="*/ 0 h 5490104"/>
              <a:gd name="connsiteX1" fmla="*/ 560043 w 6668655"/>
              <a:gd name="connsiteY1" fmla="*/ 11421 h 5490104"/>
              <a:gd name="connsiteX2" fmla="*/ 6668655 w 6668655"/>
              <a:gd name="connsiteY2" fmla="*/ 2745052 h 5490104"/>
              <a:gd name="connsiteX3" fmla="*/ 560043 w 6668655"/>
              <a:gd name="connsiteY3" fmla="*/ 5478684 h 5490104"/>
              <a:gd name="connsiteX4" fmla="*/ 0 w 6668655"/>
              <a:gd name="connsiteY4" fmla="*/ 5490104 h 5490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68655" h="5490104">
                <a:moveTo>
                  <a:pt x="0" y="0"/>
                </a:moveTo>
                <a:lnTo>
                  <a:pt x="560043" y="11421"/>
                </a:lnTo>
                <a:cubicBezTo>
                  <a:pt x="3991160" y="152137"/>
                  <a:pt x="6668655" y="1322323"/>
                  <a:pt x="6668655" y="2745052"/>
                </a:cubicBezTo>
                <a:cubicBezTo>
                  <a:pt x="6668655" y="4167782"/>
                  <a:pt x="3991160" y="5337968"/>
                  <a:pt x="560043" y="5478684"/>
                </a:cubicBezTo>
                <a:lnTo>
                  <a:pt x="0" y="5490104"/>
                </a:lnTo>
                <a:close/>
              </a:path>
            </a:pathLst>
          </a:cu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E871255-703C-43C4-9E1D-953553F65D32}"/>
              </a:ext>
            </a:extLst>
          </p:cNvPr>
          <p:cNvGrpSpPr/>
          <p:nvPr userDrawn="1"/>
        </p:nvGrpSpPr>
        <p:grpSpPr>
          <a:xfrm>
            <a:off x="10648114" y="5310074"/>
            <a:ext cx="1150191" cy="1151372"/>
            <a:chOff x="10648109" y="5310073"/>
            <a:chExt cx="1150191" cy="1151372"/>
          </a:xfrm>
        </p:grpSpPr>
        <p:sp>
          <p:nvSpPr>
            <p:cNvPr id="5" name="Rectangle 20">
              <a:extLst>
                <a:ext uri="{FF2B5EF4-FFF2-40B4-BE49-F238E27FC236}">
                  <a16:creationId xmlns:a16="http://schemas.microsoft.com/office/drawing/2014/main" id="{2B5C9E30-B166-421E-9BAD-FF47E63782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" name="Rectangle 21">
              <a:extLst>
                <a:ext uri="{FF2B5EF4-FFF2-40B4-BE49-F238E27FC236}">
                  <a16:creationId xmlns:a16="http://schemas.microsoft.com/office/drawing/2014/main" id="{E8A8E50B-F166-45B9-BED3-1DEAD954F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" name="Oval 22">
              <a:extLst>
                <a:ext uri="{FF2B5EF4-FFF2-40B4-BE49-F238E27FC236}">
                  <a16:creationId xmlns:a16="http://schemas.microsoft.com/office/drawing/2014/main" id="{1C86C029-DA55-4980-92EE-F9AD02382D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" name="Freeform 23">
              <a:extLst>
                <a:ext uri="{FF2B5EF4-FFF2-40B4-BE49-F238E27FC236}">
                  <a16:creationId xmlns:a16="http://schemas.microsoft.com/office/drawing/2014/main" id="{E99CEED6-A024-4175-BB0A-E71739D45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" name="Freeform 24">
              <a:extLst>
                <a:ext uri="{FF2B5EF4-FFF2-40B4-BE49-F238E27FC236}">
                  <a16:creationId xmlns:a16="http://schemas.microsoft.com/office/drawing/2014/main" id="{0A374CF8-901C-48E5-AA91-FA16C29193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E833E3BD-C8AA-4352-AA3D-1B4745C2C3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" name="Freeform 26">
              <a:extLst>
                <a:ext uri="{FF2B5EF4-FFF2-40B4-BE49-F238E27FC236}">
                  <a16:creationId xmlns:a16="http://schemas.microsoft.com/office/drawing/2014/main" id="{2247AFAC-91E7-4FD1-B1EB-D9DEFCE73E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07727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A61B7669-CC4E-451E-8900-7A9904CF68E3}"/>
              </a:ext>
            </a:extLst>
          </p:cNvPr>
          <p:cNvGrpSpPr/>
          <p:nvPr userDrawn="1"/>
        </p:nvGrpSpPr>
        <p:grpSpPr>
          <a:xfrm>
            <a:off x="6" y="677021"/>
            <a:ext cx="11798299" cy="5784425"/>
            <a:chOff x="1" y="677021"/>
            <a:chExt cx="11798299" cy="5784424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323983CF-FDA1-4F96-B689-7C72CBAFB2F3}"/>
                </a:ext>
              </a:extLst>
            </p:cNvPr>
            <p:cNvSpPr/>
            <p:nvPr userDrawn="1"/>
          </p:nvSpPr>
          <p:spPr>
            <a:xfrm>
              <a:off x="1" y="677021"/>
              <a:ext cx="6668655" cy="5490104"/>
            </a:xfrm>
            <a:custGeom>
              <a:avLst/>
              <a:gdLst>
                <a:gd name="connsiteX0" fmla="*/ 0 w 6668655"/>
                <a:gd name="connsiteY0" fmla="*/ 0 h 5490104"/>
                <a:gd name="connsiteX1" fmla="*/ 560043 w 6668655"/>
                <a:gd name="connsiteY1" fmla="*/ 11421 h 5490104"/>
                <a:gd name="connsiteX2" fmla="*/ 6668655 w 6668655"/>
                <a:gd name="connsiteY2" fmla="*/ 2745052 h 5490104"/>
                <a:gd name="connsiteX3" fmla="*/ 560043 w 6668655"/>
                <a:gd name="connsiteY3" fmla="*/ 5478684 h 5490104"/>
                <a:gd name="connsiteX4" fmla="*/ 0 w 6668655"/>
                <a:gd name="connsiteY4" fmla="*/ 5490104 h 54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8655" h="5490104">
                  <a:moveTo>
                    <a:pt x="0" y="0"/>
                  </a:moveTo>
                  <a:lnTo>
                    <a:pt x="560043" y="11421"/>
                  </a:lnTo>
                  <a:cubicBezTo>
                    <a:pt x="3991160" y="152137"/>
                    <a:pt x="6668655" y="1322323"/>
                    <a:pt x="6668655" y="2745052"/>
                  </a:cubicBezTo>
                  <a:cubicBezTo>
                    <a:pt x="6668655" y="4167782"/>
                    <a:pt x="3991160" y="5337968"/>
                    <a:pt x="560043" y="5478684"/>
                  </a:cubicBezTo>
                  <a:lnTo>
                    <a:pt x="0" y="54901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458C232-E694-463F-8F55-9E47AF2086BD}"/>
                </a:ext>
              </a:extLst>
            </p:cNvPr>
            <p:cNvGrpSpPr/>
            <p:nvPr userDrawn="1"/>
          </p:nvGrpSpPr>
          <p:grpSpPr>
            <a:xfrm>
              <a:off x="7813964" y="5310073"/>
              <a:ext cx="3984336" cy="1151372"/>
              <a:chOff x="7813964" y="5310073"/>
              <a:chExt cx="3984336" cy="1151372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46B1331-3816-4438-A3DF-9370EC860654}"/>
                  </a:ext>
                </a:extLst>
              </p:cNvPr>
              <p:cNvGrpSpPr/>
              <p:nvPr userDrawn="1"/>
            </p:nvGrpSpPr>
            <p:grpSpPr>
              <a:xfrm>
                <a:off x="7813964" y="5788335"/>
                <a:ext cx="2358245" cy="226732"/>
                <a:chOff x="19621500" y="3297238"/>
                <a:chExt cx="3170238" cy="304801"/>
              </a:xfrm>
            </p:grpSpPr>
            <p:sp>
              <p:nvSpPr>
                <p:cNvPr id="11" name="Freeform 5">
                  <a:extLst>
                    <a:ext uri="{FF2B5EF4-FFF2-40B4-BE49-F238E27FC236}">
                      <a16:creationId xmlns:a16="http://schemas.microsoft.com/office/drawing/2014/main" id="{12627673-0075-476B-86EC-8865903F816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962150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" name="Freeform 6">
                  <a:extLst>
                    <a:ext uri="{FF2B5EF4-FFF2-40B4-BE49-F238E27FC236}">
                      <a16:creationId xmlns:a16="http://schemas.microsoft.com/office/drawing/2014/main" id="{C1DB577C-FF4C-4DF6-A147-DFACE950E52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9829463" y="3370263"/>
                  <a:ext cx="190500" cy="161925"/>
                </a:xfrm>
                <a:custGeom>
                  <a:avLst/>
                  <a:gdLst>
                    <a:gd name="T0" fmla="*/ 120 w 120"/>
                    <a:gd name="T1" fmla="*/ 0 h 102"/>
                    <a:gd name="T2" fmla="*/ 62 w 120"/>
                    <a:gd name="T3" fmla="*/ 102 h 102"/>
                    <a:gd name="T4" fmla="*/ 29 w 120"/>
                    <a:gd name="T5" fmla="*/ 102 h 102"/>
                    <a:gd name="T6" fmla="*/ 0 w 120"/>
                    <a:gd name="T7" fmla="*/ 0 h 102"/>
                    <a:gd name="T8" fmla="*/ 35 w 120"/>
                    <a:gd name="T9" fmla="*/ 0 h 102"/>
                    <a:gd name="T10" fmla="*/ 52 w 120"/>
                    <a:gd name="T11" fmla="*/ 67 h 102"/>
                    <a:gd name="T12" fmla="*/ 87 w 120"/>
                    <a:gd name="T13" fmla="*/ 0 h 102"/>
                    <a:gd name="T14" fmla="*/ 120 w 120"/>
                    <a:gd name="T1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0" h="102">
                      <a:moveTo>
                        <a:pt x="120" y="0"/>
                      </a:moveTo>
                      <a:lnTo>
                        <a:pt x="62" y="102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2" y="67"/>
                      </a:lnTo>
                      <a:lnTo>
                        <a:pt x="87" y="0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" name="Freeform 7">
                  <a:extLst>
                    <a:ext uri="{FF2B5EF4-FFF2-40B4-BE49-F238E27FC236}">
                      <a16:creationId xmlns:a16="http://schemas.microsoft.com/office/drawing/2014/main" id="{DFEDC490-86B7-438E-B82A-02B37D3D583A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0013613" y="3363913"/>
                  <a:ext cx="188913" cy="176213"/>
                </a:xfrm>
                <a:custGeom>
                  <a:avLst/>
                  <a:gdLst>
                    <a:gd name="T0" fmla="*/ 106 w 114"/>
                    <a:gd name="T1" fmla="*/ 88 h 106"/>
                    <a:gd name="T2" fmla="*/ 54 w 114"/>
                    <a:gd name="T3" fmla="*/ 106 h 106"/>
                    <a:gd name="T4" fmla="*/ 4 w 114"/>
                    <a:gd name="T5" fmla="*/ 55 h 106"/>
                    <a:gd name="T6" fmla="*/ 69 w 114"/>
                    <a:gd name="T7" fmla="*/ 0 h 106"/>
                    <a:gd name="T8" fmla="*/ 111 w 114"/>
                    <a:gd name="T9" fmla="*/ 44 h 106"/>
                    <a:gd name="T10" fmla="*/ 105 w 114"/>
                    <a:gd name="T11" fmla="*/ 61 h 106"/>
                    <a:gd name="T12" fmla="*/ 35 w 114"/>
                    <a:gd name="T13" fmla="*/ 61 h 106"/>
                    <a:gd name="T14" fmla="*/ 64 w 114"/>
                    <a:gd name="T15" fmla="*/ 81 h 106"/>
                    <a:gd name="T16" fmla="*/ 97 w 114"/>
                    <a:gd name="T17" fmla="*/ 72 h 106"/>
                    <a:gd name="T18" fmla="*/ 106 w 114"/>
                    <a:gd name="T19" fmla="*/ 88 h 106"/>
                    <a:gd name="T20" fmla="*/ 38 w 114"/>
                    <a:gd name="T21" fmla="*/ 40 h 106"/>
                    <a:gd name="T22" fmla="*/ 83 w 114"/>
                    <a:gd name="T23" fmla="*/ 40 h 106"/>
                    <a:gd name="T24" fmla="*/ 66 w 114"/>
                    <a:gd name="T25" fmla="*/ 22 h 106"/>
                    <a:gd name="T26" fmla="*/ 38 w 114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4" y="18"/>
                        <a:pt x="111" y="44"/>
                      </a:cubicBezTo>
                      <a:cubicBezTo>
                        <a:pt x="110" y="51"/>
                        <a:pt x="107" y="57"/>
                        <a:pt x="105" y="61"/>
                      </a:cubicBezTo>
                      <a:cubicBezTo>
                        <a:pt x="35" y="61"/>
                        <a:pt x="35" y="61"/>
                        <a:pt x="35" y="61"/>
                      </a:cubicBezTo>
                      <a:cubicBezTo>
                        <a:pt x="37" y="74"/>
                        <a:pt x="47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3" y="40"/>
                        <a:pt x="83" y="40"/>
                        <a:pt x="83" y="40"/>
                      </a:cubicBezTo>
                      <a:cubicBezTo>
                        <a:pt x="84" y="29"/>
                        <a:pt x="77" y="22"/>
                        <a:pt x="66" y="22"/>
                      </a:cubicBezTo>
                      <a:cubicBezTo>
                        <a:pt x="55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" name="Freeform 8">
                  <a:extLst>
                    <a:ext uri="{FF2B5EF4-FFF2-40B4-BE49-F238E27FC236}">
                      <a16:creationId xmlns:a16="http://schemas.microsoft.com/office/drawing/2014/main" id="{5253ED09-4E82-46AB-B3FD-A54C787D999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219988" y="3365501"/>
                  <a:ext cx="146050" cy="166688"/>
                </a:xfrm>
                <a:custGeom>
                  <a:avLst/>
                  <a:gdLst>
                    <a:gd name="T0" fmla="*/ 89 w 89"/>
                    <a:gd name="T1" fmla="*/ 2 h 100"/>
                    <a:gd name="T2" fmla="*/ 84 w 89"/>
                    <a:gd name="T3" fmla="*/ 32 h 100"/>
                    <a:gd name="T4" fmla="*/ 70 w 89"/>
                    <a:gd name="T5" fmla="*/ 30 h 100"/>
                    <a:gd name="T6" fmla="*/ 40 w 89"/>
                    <a:gd name="T7" fmla="*/ 46 h 100"/>
                    <a:gd name="T8" fmla="*/ 32 w 89"/>
                    <a:gd name="T9" fmla="*/ 100 h 100"/>
                    <a:gd name="T10" fmla="*/ 0 w 89"/>
                    <a:gd name="T11" fmla="*/ 100 h 100"/>
                    <a:gd name="T12" fmla="*/ 14 w 89"/>
                    <a:gd name="T13" fmla="*/ 6 h 100"/>
                    <a:gd name="T14" fmla="*/ 45 w 89"/>
                    <a:gd name="T15" fmla="*/ 0 h 100"/>
                    <a:gd name="T16" fmla="*/ 42 w 89"/>
                    <a:gd name="T17" fmla="*/ 22 h 100"/>
                    <a:gd name="T18" fmla="*/ 77 w 89"/>
                    <a:gd name="T19" fmla="*/ 0 h 100"/>
                    <a:gd name="T20" fmla="*/ 89 w 89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9" h="100">
                      <a:moveTo>
                        <a:pt x="89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5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9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" name="Freeform 9">
                  <a:extLst>
                    <a:ext uri="{FF2B5EF4-FFF2-40B4-BE49-F238E27FC236}">
                      <a16:creationId xmlns:a16="http://schemas.microsoft.com/office/drawing/2014/main" id="{18C64485-22BF-41FC-8D6A-513C23D8971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369213" y="3370263"/>
                  <a:ext cx="187325" cy="228600"/>
                </a:xfrm>
                <a:custGeom>
                  <a:avLst/>
                  <a:gdLst>
                    <a:gd name="T0" fmla="*/ 118 w 118"/>
                    <a:gd name="T1" fmla="*/ 0 h 144"/>
                    <a:gd name="T2" fmla="*/ 38 w 118"/>
                    <a:gd name="T3" fmla="*/ 144 h 144"/>
                    <a:gd name="T4" fmla="*/ 5 w 118"/>
                    <a:gd name="T5" fmla="*/ 144 h 144"/>
                    <a:gd name="T6" fmla="*/ 31 w 118"/>
                    <a:gd name="T7" fmla="*/ 102 h 144"/>
                    <a:gd name="T8" fmla="*/ 0 w 118"/>
                    <a:gd name="T9" fmla="*/ 0 h 144"/>
                    <a:gd name="T10" fmla="*/ 37 w 118"/>
                    <a:gd name="T11" fmla="*/ 0 h 144"/>
                    <a:gd name="T12" fmla="*/ 53 w 118"/>
                    <a:gd name="T13" fmla="*/ 64 h 144"/>
                    <a:gd name="T14" fmla="*/ 86 w 118"/>
                    <a:gd name="T15" fmla="*/ 0 h 144"/>
                    <a:gd name="T16" fmla="*/ 118 w 118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8" h="144">
                      <a:moveTo>
                        <a:pt x="118" y="0"/>
                      </a:moveTo>
                      <a:lnTo>
                        <a:pt x="38" y="144"/>
                      </a:lnTo>
                      <a:lnTo>
                        <a:pt x="5" y="144"/>
                      </a:lnTo>
                      <a:lnTo>
                        <a:pt x="31" y="102"/>
                      </a:lnTo>
                      <a:lnTo>
                        <a:pt x="0" y="0"/>
                      </a:lnTo>
                      <a:lnTo>
                        <a:pt x="37" y="0"/>
                      </a:lnTo>
                      <a:lnTo>
                        <a:pt x="53" y="64"/>
                      </a:lnTo>
                      <a:lnTo>
                        <a:pt x="86" y="0"/>
                      </a:lnTo>
                      <a:lnTo>
                        <a:pt x="11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" name="Freeform 10">
                  <a:extLst>
                    <a:ext uri="{FF2B5EF4-FFF2-40B4-BE49-F238E27FC236}">
                      <a16:creationId xmlns:a16="http://schemas.microsoft.com/office/drawing/2014/main" id="{252F9309-81F0-4ABD-A4F7-8BDD4CA2A5C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561300" y="3370263"/>
                  <a:ext cx="266700" cy="161925"/>
                </a:xfrm>
                <a:custGeom>
                  <a:avLst/>
                  <a:gdLst>
                    <a:gd name="T0" fmla="*/ 168 w 168"/>
                    <a:gd name="T1" fmla="*/ 0 h 102"/>
                    <a:gd name="T2" fmla="*/ 119 w 168"/>
                    <a:gd name="T3" fmla="*/ 102 h 102"/>
                    <a:gd name="T4" fmla="*/ 88 w 168"/>
                    <a:gd name="T5" fmla="*/ 102 h 102"/>
                    <a:gd name="T6" fmla="*/ 76 w 168"/>
                    <a:gd name="T7" fmla="*/ 45 h 102"/>
                    <a:gd name="T8" fmla="*/ 52 w 168"/>
                    <a:gd name="T9" fmla="*/ 102 h 102"/>
                    <a:gd name="T10" fmla="*/ 20 w 168"/>
                    <a:gd name="T11" fmla="*/ 102 h 102"/>
                    <a:gd name="T12" fmla="*/ 0 w 168"/>
                    <a:gd name="T13" fmla="*/ 0 h 102"/>
                    <a:gd name="T14" fmla="*/ 34 w 168"/>
                    <a:gd name="T15" fmla="*/ 0 h 102"/>
                    <a:gd name="T16" fmla="*/ 43 w 168"/>
                    <a:gd name="T17" fmla="*/ 67 h 102"/>
                    <a:gd name="T18" fmla="*/ 70 w 168"/>
                    <a:gd name="T19" fmla="*/ 0 h 102"/>
                    <a:gd name="T20" fmla="*/ 100 w 168"/>
                    <a:gd name="T21" fmla="*/ 0 h 102"/>
                    <a:gd name="T22" fmla="*/ 111 w 168"/>
                    <a:gd name="T23" fmla="*/ 67 h 102"/>
                    <a:gd name="T24" fmla="*/ 137 w 168"/>
                    <a:gd name="T25" fmla="*/ 0 h 102"/>
                    <a:gd name="T26" fmla="*/ 168 w 168"/>
                    <a:gd name="T2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102">
                      <a:moveTo>
                        <a:pt x="168" y="0"/>
                      </a:moveTo>
                      <a:lnTo>
                        <a:pt x="119" y="102"/>
                      </a:lnTo>
                      <a:lnTo>
                        <a:pt x="88" y="102"/>
                      </a:lnTo>
                      <a:lnTo>
                        <a:pt x="76" y="45"/>
                      </a:lnTo>
                      <a:lnTo>
                        <a:pt x="52" y="102"/>
                      </a:lnTo>
                      <a:lnTo>
                        <a:pt x="20" y="102"/>
                      </a:ln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43" y="67"/>
                      </a:lnTo>
                      <a:lnTo>
                        <a:pt x="70" y="0"/>
                      </a:lnTo>
                      <a:lnTo>
                        <a:pt x="100" y="0"/>
                      </a:lnTo>
                      <a:lnTo>
                        <a:pt x="111" y="67"/>
                      </a:lnTo>
                      <a:lnTo>
                        <a:pt x="137" y="0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" name="Freeform 11">
                  <a:extLst>
                    <a:ext uri="{FF2B5EF4-FFF2-40B4-BE49-F238E27FC236}">
                      <a16:creationId xmlns:a16="http://schemas.microsoft.com/office/drawing/2014/main" id="{C6FF1F42-D924-4799-997B-FA313E77CCF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831175" y="3297238"/>
                  <a:ext cx="192088" cy="234950"/>
                </a:xfrm>
                <a:custGeom>
                  <a:avLst/>
                  <a:gdLst>
                    <a:gd name="T0" fmla="*/ 112 w 116"/>
                    <a:gd name="T1" fmla="*/ 84 h 142"/>
                    <a:gd name="T2" fmla="*/ 103 w 116"/>
                    <a:gd name="T3" fmla="*/ 142 h 142"/>
                    <a:gd name="T4" fmla="*/ 71 w 116"/>
                    <a:gd name="T5" fmla="*/ 142 h 142"/>
                    <a:gd name="T6" fmla="*/ 78 w 116"/>
                    <a:gd name="T7" fmla="*/ 94 h 142"/>
                    <a:gd name="T8" fmla="*/ 64 w 116"/>
                    <a:gd name="T9" fmla="*/ 69 h 142"/>
                    <a:gd name="T10" fmla="*/ 41 w 116"/>
                    <a:gd name="T11" fmla="*/ 81 h 142"/>
                    <a:gd name="T12" fmla="*/ 32 w 116"/>
                    <a:gd name="T13" fmla="*/ 142 h 142"/>
                    <a:gd name="T14" fmla="*/ 0 w 116"/>
                    <a:gd name="T15" fmla="*/ 142 h 142"/>
                    <a:gd name="T16" fmla="*/ 19 w 116"/>
                    <a:gd name="T17" fmla="*/ 6 h 142"/>
                    <a:gd name="T18" fmla="*/ 52 w 116"/>
                    <a:gd name="T19" fmla="*/ 0 h 142"/>
                    <a:gd name="T20" fmla="*/ 44 w 116"/>
                    <a:gd name="T21" fmla="*/ 57 h 142"/>
                    <a:gd name="T22" fmla="*/ 81 w 116"/>
                    <a:gd name="T23" fmla="*/ 42 h 142"/>
                    <a:gd name="T24" fmla="*/ 112 w 116"/>
                    <a:gd name="T25" fmla="*/ 84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6" h="142">
                      <a:moveTo>
                        <a:pt x="112" y="84"/>
                      </a:moveTo>
                      <a:cubicBezTo>
                        <a:pt x="103" y="142"/>
                        <a:pt x="103" y="142"/>
                        <a:pt x="103" y="142"/>
                      </a:cubicBezTo>
                      <a:cubicBezTo>
                        <a:pt x="71" y="142"/>
                        <a:pt x="71" y="142"/>
                        <a:pt x="71" y="142"/>
                      </a:cubicBezTo>
                      <a:cubicBezTo>
                        <a:pt x="78" y="94"/>
                        <a:pt x="78" y="94"/>
                        <a:pt x="78" y="94"/>
                      </a:cubicBezTo>
                      <a:cubicBezTo>
                        <a:pt x="80" y="78"/>
                        <a:pt x="76" y="69"/>
                        <a:pt x="64" y="69"/>
                      </a:cubicBezTo>
                      <a:cubicBezTo>
                        <a:pt x="56" y="69"/>
                        <a:pt x="47" y="74"/>
                        <a:pt x="41" y="81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54" y="47"/>
                        <a:pt x="68" y="42"/>
                        <a:pt x="81" y="42"/>
                      </a:cubicBezTo>
                      <a:cubicBezTo>
                        <a:pt x="101" y="42"/>
                        <a:pt x="116" y="56"/>
                        <a:pt x="112" y="8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" name="Freeform 12">
                  <a:extLst>
                    <a:ext uri="{FF2B5EF4-FFF2-40B4-BE49-F238E27FC236}">
                      <a16:creationId xmlns:a16="http://schemas.microsoft.com/office/drawing/2014/main" id="{F60181F6-C5E9-455B-B472-FF56A800B9BE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03755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5 w 115"/>
                    <a:gd name="T3" fmla="*/ 106 h 106"/>
                    <a:gd name="T4" fmla="*/ 5 w 115"/>
                    <a:gd name="T5" fmla="*/ 55 h 106"/>
                    <a:gd name="T6" fmla="*/ 70 w 115"/>
                    <a:gd name="T7" fmla="*/ 0 h 106"/>
                    <a:gd name="T8" fmla="*/ 111 w 115"/>
                    <a:gd name="T9" fmla="*/ 44 h 106"/>
                    <a:gd name="T10" fmla="*/ 106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8 w 115"/>
                    <a:gd name="T17" fmla="*/ 72 h 106"/>
                    <a:gd name="T18" fmla="*/ 106 w 115"/>
                    <a:gd name="T19" fmla="*/ 88 h 106"/>
                    <a:gd name="T20" fmla="*/ 39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9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4" y="97"/>
                        <a:pt x="76" y="106"/>
                        <a:pt x="55" y="106"/>
                      </a:cubicBezTo>
                      <a:cubicBezTo>
                        <a:pt x="21" y="106"/>
                        <a:pt x="0" y="86"/>
                        <a:pt x="5" y="55"/>
                      </a:cubicBez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6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8" y="77"/>
                        <a:pt x="98" y="72"/>
                      </a:cubicBezTo>
                      <a:lnTo>
                        <a:pt x="106" y="88"/>
                      </a:lnTo>
                      <a:close/>
                      <a:moveTo>
                        <a:pt x="39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9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" name="Freeform 13">
                  <a:extLst>
                    <a:ext uri="{FF2B5EF4-FFF2-40B4-BE49-F238E27FC236}">
                      <a16:creationId xmlns:a16="http://schemas.microsoft.com/office/drawing/2014/main" id="{40B763BD-44F4-4A84-82F8-1EBB3F2CBE4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245513" y="3365501"/>
                  <a:ext cx="144463" cy="166688"/>
                </a:xfrm>
                <a:custGeom>
                  <a:avLst/>
                  <a:gdLst>
                    <a:gd name="T0" fmla="*/ 88 w 88"/>
                    <a:gd name="T1" fmla="*/ 2 h 100"/>
                    <a:gd name="T2" fmla="*/ 84 w 88"/>
                    <a:gd name="T3" fmla="*/ 32 h 100"/>
                    <a:gd name="T4" fmla="*/ 70 w 88"/>
                    <a:gd name="T5" fmla="*/ 30 h 100"/>
                    <a:gd name="T6" fmla="*/ 40 w 88"/>
                    <a:gd name="T7" fmla="*/ 46 h 100"/>
                    <a:gd name="T8" fmla="*/ 32 w 88"/>
                    <a:gd name="T9" fmla="*/ 100 h 100"/>
                    <a:gd name="T10" fmla="*/ 0 w 88"/>
                    <a:gd name="T11" fmla="*/ 100 h 100"/>
                    <a:gd name="T12" fmla="*/ 13 w 88"/>
                    <a:gd name="T13" fmla="*/ 6 h 100"/>
                    <a:gd name="T14" fmla="*/ 45 w 88"/>
                    <a:gd name="T15" fmla="*/ 0 h 100"/>
                    <a:gd name="T16" fmla="*/ 42 w 88"/>
                    <a:gd name="T17" fmla="*/ 22 h 100"/>
                    <a:gd name="T18" fmla="*/ 77 w 88"/>
                    <a:gd name="T19" fmla="*/ 0 h 100"/>
                    <a:gd name="T20" fmla="*/ 88 w 88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" h="100">
                      <a:moveTo>
                        <a:pt x="88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4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8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" name="Freeform 14">
                  <a:extLst>
                    <a:ext uri="{FF2B5EF4-FFF2-40B4-BE49-F238E27FC236}">
                      <a16:creationId xmlns:a16="http://schemas.microsoft.com/office/drawing/2014/main" id="{4AB8A9B7-6CCB-4199-A78C-CC029B83387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389975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4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" name="Freeform 15">
                  <a:extLst>
                    <a:ext uri="{FF2B5EF4-FFF2-40B4-BE49-F238E27FC236}">
                      <a16:creationId xmlns:a16="http://schemas.microsoft.com/office/drawing/2014/main" id="{43784E0C-3B1C-4CB7-B8D6-ADA386525A8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678900" y="3370263"/>
                  <a:ext cx="184150" cy="228600"/>
                </a:xfrm>
                <a:custGeom>
                  <a:avLst/>
                  <a:gdLst>
                    <a:gd name="T0" fmla="*/ 116 w 116"/>
                    <a:gd name="T1" fmla="*/ 0 h 144"/>
                    <a:gd name="T2" fmla="*/ 36 w 116"/>
                    <a:gd name="T3" fmla="*/ 144 h 144"/>
                    <a:gd name="T4" fmla="*/ 4 w 116"/>
                    <a:gd name="T5" fmla="*/ 144 h 144"/>
                    <a:gd name="T6" fmla="*/ 29 w 116"/>
                    <a:gd name="T7" fmla="*/ 102 h 144"/>
                    <a:gd name="T8" fmla="*/ 0 w 116"/>
                    <a:gd name="T9" fmla="*/ 0 h 144"/>
                    <a:gd name="T10" fmla="*/ 35 w 116"/>
                    <a:gd name="T11" fmla="*/ 0 h 144"/>
                    <a:gd name="T12" fmla="*/ 51 w 116"/>
                    <a:gd name="T13" fmla="*/ 64 h 144"/>
                    <a:gd name="T14" fmla="*/ 84 w 116"/>
                    <a:gd name="T15" fmla="*/ 0 h 144"/>
                    <a:gd name="T16" fmla="*/ 116 w 116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144">
                      <a:moveTo>
                        <a:pt x="116" y="0"/>
                      </a:moveTo>
                      <a:lnTo>
                        <a:pt x="36" y="144"/>
                      </a:lnTo>
                      <a:lnTo>
                        <a:pt x="4" y="144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1" y="64"/>
                      </a:lnTo>
                      <a:lnTo>
                        <a:pt x="84" y="0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" name="Freeform 16">
                  <a:extLst>
                    <a:ext uri="{FF2B5EF4-FFF2-40B4-BE49-F238E27FC236}">
                      <a16:creationId xmlns:a16="http://schemas.microsoft.com/office/drawing/2014/main" id="{2CD15C22-CC9A-4AC1-80A0-6A1D39F2988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85828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2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9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4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" name="Freeform 17">
                  <a:extLst>
                    <a:ext uri="{FF2B5EF4-FFF2-40B4-BE49-F238E27FC236}">
                      <a16:creationId xmlns:a16="http://schemas.microsoft.com/office/drawing/2014/main" id="{6A6099C2-3B4B-4D4E-AC74-5606A60DAD8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2078950" y="3365501"/>
                  <a:ext cx="190500" cy="171450"/>
                </a:xfrm>
                <a:custGeom>
                  <a:avLst/>
                  <a:gdLst>
                    <a:gd name="T0" fmla="*/ 115 w 115"/>
                    <a:gd name="T1" fmla="*/ 0 h 103"/>
                    <a:gd name="T2" fmla="*/ 101 w 115"/>
                    <a:gd name="T3" fmla="*/ 100 h 103"/>
                    <a:gd name="T4" fmla="*/ 70 w 115"/>
                    <a:gd name="T5" fmla="*/ 100 h 103"/>
                    <a:gd name="T6" fmla="*/ 72 w 115"/>
                    <a:gd name="T7" fmla="*/ 88 h 103"/>
                    <a:gd name="T8" fmla="*/ 35 w 115"/>
                    <a:gd name="T9" fmla="*/ 103 h 103"/>
                    <a:gd name="T10" fmla="*/ 4 w 115"/>
                    <a:gd name="T11" fmla="*/ 61 h 103"/>
                    <a:gd name="T12" fmla="*/ 12 w 115"/>
                    <a:gd name="T13" fmla="*/ 6 h 103"/>
                    <a:gd name="T14" fmla="*/ 45 w 115"/>
                    <a:gd name="T15" fmla="*/ 0 h 103"/>
                    <a:gd name="T16" fmla="*/ 38 w 115"/>
                    <a:gd name="T17" fmla="*/ 51 h 103"/>
                    <a:gd name="T18" fmla="*/ 51 w 115"/>
                    <a:gd name="T19" fmla="*/ 77 h 103"/>
                    <a:gd name="T20" fmla="*/ 74 w 115"/>
                    <a:gd name="T21" fmla="*/ 66 h 103"/>
                    <a:gd name="T22" fmla="*/ 82 w 115"/>
                    <a:gd name="T23" fmla="*/ 6 h 103"/>
                    <a:gd name="T24" fmla="*/ 115 w 115"/>
                    <a:gd name="T25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" h="103">
                      <a:moveTo>
                        <a:pt x="115" y="0"/>
                      </a:moveTo>
                      <a:cubicBezTo>
                        <a:pt x="101" y="100"/>
                        <a:pt x="101" y="100"/>
                        <a:pt x="101" y="100"/>
                      </a:cubicBezTo>
                      <a:cubicBezTo>
                        <a:pt x="70" y="100"/>
                        <a:pt x="70" y="100"/>
                        <a:pt x="70" y="100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62" y="98"/>
                        <a:pt x="48" y="103"/>
                        <a:pt x="35" y="103"/>
                      </a:cubicBezTo>
                      <a:cubicBezTo>
                        <a:pt x="14" y="103"/>
                        <a:pt x="0" y="89"/>
                        <a:pt x="4" y="61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38" y="51"/>
                        <a:pt x="38" y="51"/>
                        <a:pt x="38" y="51"/>
                      </a:cubicBezTo>
                      <a:cubicBezTo>
                        <a:pt x="35" y="68"/>
                        <a:pt x="40" y="77"/>
                        <a:pt x="51" y="77"/>
                      </a:cubicBezTo>
                      <a:cubicBezTo>
                        <a:pt x="59" y="77"/>
                        <a:pt x="67" y="73"/>
                        <a:pt x="74" y="66"/>
                      </a:cubicBezTo>
                      <a:cubicBezTo>
                        <a:pt x="82" y="6"/>
                        <a:pt x="82" y="6"/>
                        <a:pt x="82" y="6"/>
                      </a:cubicBezTo>
                      <a:lnTo>
                        <a:pt x="115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" name="Freeform 18">
                  <a:extLst>
                    <a:ext uri="{FF2B5EF4-FFF2-40B4-BE49-F238E27FC236}">
                      <a16:creationId xmlns:a16="http://schemas.microsoft.com/office/drawing/2014/main" id="{365EE61A-C7F5-4BF6-8A74-88CBC74CBE55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353588" y="3365501"/>
                  <a:ext cx="233363" cy="236538"/>
                </a:xfrm>
                <a:custGeom>
                  <a:avLst/>
                  <a:gdLst>
                    <a:gd name="T0" fmla="*/ 138 w 141"/>
                    <a:gd name="T1" fmla="*/ 30 h 143"/>
                    <a:gd name="T2" fmla="*/ 114 w 141"/>
                    <a:gd name="T3" fmla="*/ 29 h 143"/>
                    <a:gd name="T4" fmla="*/ 117 w 141"/>
                    <a:gd name="T5" fmla="*/ 47 h 143"/>
                    <a:gd name="T6" fmla="*/ 59 w 141"/>
                    <a:gd name="T7" fmla="*/ 88 h 143"/>
                    <a:gd name="T8" fmla="*/ 54 w 141"/>
                    <a:gd name="T9" fmla="*/ 88 h 143"/>
                    <a:gd name="T10" fmla="*/ 35 w 141"/>
                    <a:gd name="T11" fmla="*/ 113 h 143"/>
                    <a:gd name="T12" fmla="*/ 84 w 141"/>
                    <a:gd name="T13" fmla="*/ 98 h 143"/>
                    <a:gd name="T14" fmla="*/ 118 w 141"/>
                    <a:gd name="T15" fmla="*/ 139 h 143"/>
                    <a:gd name="T16" fmla="*/ 84 w 141"/>
                    <a:gd name="T17" fmla="*/ 143 h 143"/>
                    <a:gd name="T18" fmla="*/ 66 w 141"/>
                    <a:gd name="T19" fmla="*/ 125 h 143"/>
                    <a:gd name="T20" fmla="*/ 18 w 141"/>
                    <a:gd name="T21" fmla="*/ 139 h 143"/>
                    <a:gd name="T22" fmla="*/ 0 w 141"/>
                    <a:gd name="T23" fmla="*/ 127 h 143"/>
                    <a:gd name="T24" fmla="*/ 27 w 141"/>
                    <a:gd name="T25" fmla="*/ 79 h 143"/>
                    <a:gd name="T26" fmla="*/ 11 w 141"/>
                    <a:gd name="T27" fmla="*/ 45 h 143"/>
                    <a:gd name="T28" fmla="*/ 71 w 141"/>
                    <a:gd name="T29" fmla="*/ 0 h 143"/>
                    <a:gd name="T30" fmla="*/ 91 w 141"/>
                    <a:gd name="T31" fmla="*/ 3 h 143"/>
                    <a:gd name="T32" fmla="*/ 141 w 141"/>
                    <a:gd name="T33" fmla="*/ 3 h 143"/>
                    <a:gd name="T34" fmla="*/ 138 w 141"/>
                    <a:gd name="T35" fmla="*/ 30 h 143"/>
                    <a:gd name="T36" fmla="*/ 87 w 141"/>
                    <a:gd name="T37" fmla="*/ 45 h 143"/>
                    <a:gd name="T38" fmla="*/ 67 w 141"/>
                    <a:gd name="T39" fmla="*/ 23 h 143"/>
                    <a:gd name="T40" fmla="*/ 42 w 141"/>
                    <a:gd name="T41" fmla="*/ 44 h 143"/>
                    <a:gd name="T42" fmla="*/ 62 w 141"/>
                    <a:gd name="T43" fmla="*/ 66 h 143"/>
                    <a:gd name="T44" fmla="*/ 87 w 141"/>
                    <a:gd name="T45" fmla="*/ 45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1" h="143">
                      <a:moveTo>
                        <a:pt x="138" y="30"/>
                      </a:moveTo>
                      <a:cubicBezTo>
                        <a:pt x="114" y="29"/>
                        <a:pt x="114" y="29"/>
                        <a:pt x="114" y="29"/>
                      </a:cubicBezTo>
                      <a:cubicBezTo>
                        <a:pt x="117" y="34"/>
                        <a:pt x="118" y="40"/>
                        <a:pt x="117" y="47"/>
                      </a:cubicBezTo>
                      <a:cubicBezTo>
                        <a:pt x="114" y="70"/>
                        <a:pt x="90" y="88"/>
                        <a:pt x="59" y="88"/>
                      </a:cubicBezTo>
                      <a:cubicBezTo>
                        <a:pt x="58" y="88"/>
                        <a:pt x="56" y="88"/>
                        <a:pt x="54" y="88"/>
                      </a:cubicBezTo>
                      <a:cubicBezTo>
                        <a:pt x="35" y="113"/>
                        <a:pt x="35" y="113"/>
                        <a:pt x="35" y="113"/>
                      </a:cubicBezTo>
                      <a:cubicBezTo>
                        <a:pt x="49" y="105"/>
                        <a:pt x="67" y="98"/>
                        <a:pt x="84" y="98"/>
                      </a:cubicBezTo>
                      <a:cubicBezTo>
                        <a:pt x="102" y="98"/>
                        <a:pt x="120" y="106"/>
                        <a:pt x="118" y="139"/>
                      </a:cubicBezTo>
                      <a:cubicBezTo>
                        <a:pt x="84" y="143"/>
                        <a:pt x="84" y="143"/>
                        <a:pt x="84" y="143"/>
                      </a:cubicBezTo>
                      <a:cubicBezTo>
                        <a:pt x="84" y="128"/>
                        <a:pt x="77" y="125"/>
                        <a:pt x="66" y="125"/>
                      </a:cubicBezTo>
                      <a:cubicBezTo>
                        <a:pt x="53" y="125"/>
                        <a:pt x="34" y="130"/>
                        <a:pt x="18" y="139"/>
                      </a:cubicBezTo>
                      <a:cubicBezTo>
                        <a:pt x="0" y="127"/>
                        <a:pt x="0" y="127"/>
                        <a:pt x="0" y="127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15" y="72"/>
                        <a:pt x="9" y="59"/>
                        <a:pt x="11" y="45"/>
                      </a:cubicBezTo>
                      <a:cubicBezTo>
                        <a:pt x="15" y="21"/>
                        <a:pt x="40" y="0"/>
                        <a:pt x="71" y="0"/>
                      </a:cubicBezTo>
                      <a:cubicBezTo>
                        <a:pt x="78" y="0"/>
                        <a:pt x="85" y="1"/>
                        <a:pt x="91" y="3"/>
                      </a:cubicBezTo>
                      <a:cubicBezTo>
                        <a:pt x="141" y="3"/>
                        <a:pt x="141" y="3"/>
                        <a:pt x="141" y="3"/>
                      </a:cubicBezTo>
                      <a:lnTo>
                        <a:pt x="138" y="30"/>
                      </a:lnTo>
                      <a:close/>
                      <a:moveTo>
                        <a:pt x="87" y="45"/>
                      </a:moveTo>
                      <a:cubicBezTo>
                        <a:pt x="89" y="31"/>
                        <a:pt x="79" y="23"/>
                        <a:pt x="67" y="23"/>
                      </a:cubicBezTo>
                      <a:cubicBezTo>
                        <a:pt x="55" y="23"/>
                        <a:pt x="44" y="31"/>
                        <a:pt x="42" y="44"/>
                      </a:cubicBezTo>
                      <a:cubicBezTo>
                        <a:pt x="40" y="57"/>
                        <a:pt x="50" y="66"/>
                        <a:pt x="62" y="66"/>
                      </a:cubicBezTo>
                      <a:cubicBezTo>
                        <a:pt x="74" y="66"/>
                        <a:pt x="85" y="58"/>
                        <a:pt x="87" y="45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" name="Freeform 19">
                  <a:extLst>
                    <a:ext uri="{FF2B5EF4-FFF2-40B4-BE49-F238E27FC236}">
                      <a16:creationId xmlns:a16="http://schemas.microsoft.com/office/drawing/2014/main" id="{F91CB710-B383-43F3-B866-2051D19A747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58853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1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8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3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26" name="Rectangle 20">
                <a:extLst>
                  <a:ext uri="{FF2B5EF4-FFF2-40B4-BE49-F238E27FC236}">
                    <a16:creationId xmlns:a16="http://schemas.microsoft.com/office/drawing/2014/main" id="{F0BD5216-1B8B-4338-9D48-6F3C7DBADBB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Rectangle 21">
                <a:extLst>
                  <a:ext uri="{FF2B5EF4-FFF2-40B4-BE49-F238E27FC236}">
                    <a16:creationId xmlns:a16="http://schemas.microsoft.com/office/drawing/2014/main" id="{AC50AD3F-AA70-4094-ADEC-F9A993D27BD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Oval 22">
                <a:extLst>
                  <a:ext uri="{FF2B5EF4-FFF2-40B4-BE49-F238E27FC236}">
                    <a16:creationId xmlns:a16="http://schemas.microsoft.com/office/drawing/2014/main" id="{809AD6BF-5BA6-41C7-BE10-73407395703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23">
                <a:extLst>
                  <a:ext uri="{FF2B5EF4-FFF2-40B4-BE49-F238E27FC236}">
                    <a16:creationId xmlns:a16="http://schemas.microsoft.com/office/drawing/2014/main" id="{A689BEE4-A99B-4A5C-A110-ECBEADC28C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Freeform 24">
                <a:extLst>
                  <a:ext uri="{FF2B5EF4-FFF2-40B4-BE49-F238E27FC236}">
                    <a16:creationId xmlns:a16="http://schemas.microsoft.com/office/drawing/2014/main" id="{E36879E8-3339-4D5E-87CC-63DFA5A947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Freeform 25">
                <a:extLst>
                  <a:ext uri="{FF2B5EF4-FFF2-40B4-BE49-F238E27FC236}">
                    <a16:creationId xmlns:a16="http://schemas.microsoft.com/office/drawing/2014/main" id="{DAEE6491-753A-4F53-A93D-8EAE99602D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Freeform 26">
                <a:extLst>
                  <a:ext uri="{FF2B5EF4-FFF2-40B4-BE49-F238E27FC236}">
                    <a16:creationId xmlns:a16="http://schemas.microsoft.com/office/drawing/2014/main" id="{51F66A9F-39AB-483C-B150-6874999F0C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3" name="Freeform 27">
              <a:extLst>
                <a:ext uri="{FF2B5EF4-FFF2-40B4-BE49-F238E27FC236}">
                  <a16:creationId xmlns:a16="http://schemas.microsoft.com/office/drawing/2014/main" id="{D1C34241-1362-46D9-A5C6-5A9C64E71F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12009" y="3003684"/>
              <a:ext cx="3335482" cy="994073"/>
            </a:xfrm>
            <a:custGeom>
              <a:avLst/>
              <a:gdLst>
                <a:gd name="T0" fmla="*/ 785 w 3117"/>
                <a:gd name="T1" fmla="*/ 65 h 928"/>
                <a:gd name="T2" fmla="*/ 504 w 3117"/>
                <a:gd name="T3" fmla="*/ 556 h 928"/>
                <a:gd name="T4" fmla="*/ 132 w 3117"/>
                <a:gd name="T5" fmla="*/ 921 h 928"/>
                <a:gd name="T6" fmla="*/ 0 w 3117"/>
                <a:gd name="T7" fmla="*/ 777 h 928"/>
                <a:gd name="T8" fmla="*/ 231 w 3117"/>
                <a:gd name="T9" fmla="*/ 626 h 928"/>
                <a:gd name="T10" fmla="*/ 41 w 3117"/>
                <a:gd name="T11" fmla="*/ 65 h 928"/>
                <a:gd name="T12" fmla="*/ 276 w 3117"/>
                <a:gd name="T13" fmla="*/ 65 h 928"/>
                <a:gd name="T14" fmla="*/ 375 w 3117"/>
                <a:gd name="T15" fmla="*/ 419 h 928"/>
                <a:gd name="T16" fmla="*/ 563 w 3117"/>
                <a:gd name="T17" fmla="*/ 65 h 928"/>
                <a:gd name="T18" fmla="*/ 785 w 3117"/>
                <a:gd name="T19" fmla="*/ 65 h 928"/>
                <a:gd name="T20" fmla="*/ 1082 w 3117"/>
                <a:gd name="T21" fmla="*/ 162 h 928"/>
                <a:gd name="T22" fmla="*/ 890 w 3117"/>
                <a:gd name="T23" fmla="*/ 495 h 928"/>
                <a:gd name="T24" fmla="*/ 768 w 3117"/>
                <a:gd name="T25" fmla="*/ 412 h 928"/>
                <a:gd name="T26" fmla="*/ 867 w 3117"/>
                <a:gd name="T27" fmla="*/ 162 h 928"/>
                <a:gd name="T28" fmla="*/ 885 w 3117"/>
                <a:gd name="T29" fmla="*/ 67 h 928"/>
                <a:gd name="T30" fmla="*/ 1098 w 3117"/>
                <a:gd name="T31" fmla="*/ 67 h 928"/>
                <a:gd name="T32" fmla="*/ 1082 w 3117"/>
                <a:gd name="T33" fmla="*/ 162 h 928"/>
                <a:gd name="T34" fmla="*/ 1642 w 3117"/>
                <a:gd name="T35" fmla="*/ 654 h 928"/>
                <a:gd name="T36" fmla="*/ 1220 w 3117"/>
                <a:gd name="T37" fmla="*/ 654 h 928"/>
                <a:gd name="T38" fmla="*/ 1373 w 3117"/>
                <a:gd name="T39" fmla="*/ 759 h 928"/>
                <a:gd name="T40" fmla="*/ 1583 w 3117"/>
                <a:gd name="T41" fmla="*/ 707 h 928"/>
                <a:gd name="T42" fmla="*/ 1646 w 3117"/>
                <a:gd name="T43" fmla="*/ 824 h 928"/>
                <a:gd name="T44" fmla="*/ 1329 w 3117"/>
                <a:gd name="T45" fmla="*/ 928 h 928"/>
                <a:gd name="T46" fmla="*/ 1001 w 3117"/>
                <a:gd name="T47" fmla="*/ 636 h 928"/>
                <a:gd name="T48" fmla="*/ 1406 w 3117"/>
                <a:gd name="T49" fmla="*/ 260 h 928"/>
                <a:gd name="T50" fmla="*/ 1685 w 3117"/>
                <a:gd name="T51" fmla="*/ 497 h 928"/>
                <a:gd name="T52" fmla="*/ 1642 w 3117"/>
                <a:gd name="T53" fmla="*/ 654 h 928"/>
                <a:gd name="T54" fmla="*/ 1496 w 3117"/>
                <a:gd name="T55" fmla="*/ 500 h 928"/>
                <a:gd name="T56" fmla="*/ 1390 w 3117"/>
                <a:gd name="T57" fmla="*/ 407 h 928"/>
                <a:gd name="T58" fmla="*/ 1239 w 3117"/>
                <a:gd name="T59" fmla="*/ 510 h 928"/>
                <a:gd name="T60" fmla="*/ 1496 w 3117"/>
                <a:gd name="T61" fmla="*/ 510 h 928"/>
                <a:gd name="T62" fmla="*/ 1496 w 3117"/>
                <a:gd name="T63" fmla="*/ 500 h 928"/>
                <a:gd name="T64" fmla="*/ 2094 w 3117"/>
                <a:gd name="T65" fmla="*/ 0 h 928"/>
                <a:gd name="T66" fmla="*/ 1934 w 3117"/>
                <a:gd name="T67" fmla="*/ 900 h 928"/>
                <a:gd name="T68" fmla="*/ 1715 w 3117"/>
                <a:gd name="T69" fmla="*/ 900 h 928"/>
                <a:gd name="T70" fmla="*/ 1866 w 3117"/>
                <a:gd name="T71" fmla="*/ 44 h 928"/>
                <a:gd name="T72" fmla="*/ 2094 w 3117"/>
                <a:gd name="T73" fmla="*/ 0 h 928"/>
                <a:gd name="T74" fmla="*/ 2416 w 3117"/>
                <a:gd name="T75" fmla="*/ 0 h 928"/>
                <a:gd name="T76" fmla="*/ 2256 w 3117"/>
                <a:gd name="T77" fmla="*/ 900 h 928"/>
                <a:gd name="T78" fmla="*/ 2038 w 3117"/>
                <a:gd name="T79" fmla="*/ 900 h 928"/>
                <a:gd name="T80" fmla="*/ 2189 w 3117"/>
                <a:gd name="T81" fmla="*/ 44 h 928"/>
                <a:gd name="T82" fmla="*/ 2416 w 3117"/>
                <a:gd name="T83" fmla="*/ 0 h 928"/>
                <a:gd name="T84" fmla="*/ 3117 w 3117"/>
                <a:gd name="T85" fmla="*/ 552 h 928"/>
                <a:gd name="T86" fmla="*/ 2709 w 3117"/>
                <a:gd name="T87" fmla="*/ 928 h 928"/>
                <a:gd name="T88" fmla="*/ 2384 w 3117"/>
                <a:gd name="T89" fmla="*/ 633 h 928"/>
                <a:gd name="T90" fmla="*/ 2792 w 3117"/>
                <a:gd name="T91" fmla="*/ 260 h 928"/>
                <a:gd name="T92" fmla="*/ 3117 w 3117"/>
                <a:gd name="T93" fmla="*/ 552 h 928"/>
                <a:gd name="T94" fmla="*/ 2888 w 3117"/>
                <a:gd name="T95" fmla="*/ 556 h 928"/>
                <a:gd name="T96" fmla="*/ 2778 w 3117"/>
                <a:gd name="T97" fmla="*/ 421 h 928"/>
                <a:gd name="T98" fmla="*/ 2613 w 3117"/>
                <a:gd name="T99" fmla="*/ 628 h 928"/>
                <a:gd name="T100" fmla="*/ 2721 w 3117"/>
                <a:gd name="T101" fmla="*/ 764 h 928"/>
                <a:gd name="T102" fmla="*/ 2888 w 3117"/>
                <a:gd name="T103" fmla="*/ 556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17" h="928">
                  <a:moveTo>
                    <a:pt x="785" y="65"/>
                  </a:moveTo>
                  <a:cubicBezTo>
                    <a:pt x="504" y="556"/>
                    <a:pt x="504" y="556"/>
                    <a:pt x="504" y="556"/>
                  </a:cubicBezTo>
                  <a:cubicBezTo>
                    <a:pt x="398" y="742"/>
                    <a:pt x="306" y="833"/>
                    <a:pt x="132" y="921"/>
                  </a:cubicBezTo>
                  <a:cubicBezTo>
                    <a:pt x="0" y="777"/>
                    <a:pt x="0" y="777"/>
                    <a:pt x="0" y="777"/>
                  </a:cubicBezTo>
                  <a:cubicBezTo>
                    <a:pt x="80" y="744"/>
                    <a:pt x="164" y="690"/>
                    <a:pt x="231" y="626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276" y="65"/>
                    <a:pt x="276" y="65"/>
                    <a:pt x="276" y="65"/>
                  </a:cubicBezTo>
                  <a:cubicBezTo>
                    <a:pt x="375" y="419"/>
                    <a:pt x="375" y="419"/>
                    <a:pt x="375" y="419"/>
                  </a:cubicBezTo>
                  <a:cubicBezTo>
                    <a:pt x="563" y="65"/>
                    <a:pt x="563" y="65"/>
                    <a:pt x="563" y="65"/>
                  </a:cubicBezTo>
                  <a:lnTo>
                    <a:pt x="785" y="65"/>
                  </a:lnTo>
                  <a:close/>
                  <a:moveTo>
                    <a:pt x="1082" y="162"/>
                  </a:moveTo>
                  <a:cubicBezTo>
                    <a:pt x="1057" y="311"/>
                    <a:pt x="977" y="423"/>
                    <a:pt x="890" y="495"/>
                  </a:cubicBezTo>
                  <a:cubicBezTo>
                    <a:pt x="768" y="412"/>
                    <a:pt x="768" y="412"/>
                    <a:pt x="768" y="412"/>
                  </a:cubicBezTo>
                  <a:cubicBezTo>
                    <a:pt x="790" y="382"/>
                    <a:pt x="839" y="313"/>
                    <a:pt x="867" y="162"/>
                  </a:cubicBezTo>
                  <a:cubicBezTo>
                    <a:pt x="885" y="67"/>
                    <a:pt x="885" y="67"/>
                    <a:pt x="885" y="67"/>
                  </a:cubicBezTo>
                  <a:cubicBezTo>
                    <a:pt x="1098" y="67"/>
                    <a:pt x="1098" y="67"/>
                    <a:pt x="1098" y="67"/>
                  </a:cubicBezTo>
                  <a:lnTo>
                    <a:pt x="1082" y="162"/>
                  </a:lnTo>
                  <a:close/>
                  <a:moveTo>
                    <a:pt x="1642" y="654"/>
                  </a:moveTo>
                  <a:cubicBezTo>
                    <a:pt x="1220" y="654"/>
                    <a:pt x="1220" y="654"/>
                    <a:pt x="1220" y="654"/>
                  </a:cubicBezTo>
                  <a:cubicBezTo>
                    <a:pt x="1233" y="722"/>
                    <a:pt x="1279" y="759"/>
                    <a:pt x="1373" y="759"/>
                  </a:cubicBezTo>
                  <a:cubicBezTo>
                    <a:pt x="1445" y="759"/>
                    <a:pt x="1526" y="737"/>
                    <a:pt x="1583" y="707"/>
                  </a:cubicBezTo>
                  <a:cubicBezTo>
                    <a:pt x="1646" y="824"/>
                    <a:pt x="1646" y="824"/>
                    <a:pt x="1646" y="824"/>
                  </a:cubicBezTo>
                  <a:cubicBezTo>
                    <a:pt x="1566" y="882"/>
                    <a:pt x="1451" y="928"/>
                    <a:pt x="1329" y="928"/>
                  </a:cubicBezTo>
                  <a:cubicBezTo>
                    <a:pt x="1134" y="928"/>
                    <a:pt x="1001" y="812"/>
                    <a:pt x="1001" y="636"/>
                  </a:cubicBezTo>
                  <a:cubicBezTo>
                    <a:pt x="1001" y="430"/>
                    <a:pt x="1185" y="260"/>
                    <a:pt x="1406" y="260"/>
                  </a:cubicBezTo>
                  <a:cubicBezTo>
                    <a:pt x="1573" y="260"/>
                    <a:pt x="1685" y="358"/>
                    <a:pt x="1685" y="497"/>
                  </a:cubicBezTo>
                  <a:cubicBezTo>
                    <a:pt x="1685" y="560"/>
                    <a:pt x="1663" y="614"/>
                    <a:pt x="1642" y="654"/>
                  </a:cubicBezTo>
                  <a:close/>
                  <a:moveTo>
                    <a:pt x="1496" y="500"/>
                  </a:moveTo>
                  <a:cubicBezTo>
                    <a:pt x="1496" y="444"/>
                    <a:pt x="1454" y="407"/>
                    <a:pt x="1390" y="407"/>
                  </a:cubicBezTo>
                  <a:cubicBezTo>
                    <a:pt x="1323" y="407"/>
                    <a:pt x="1267" y="447"/>
                    <a:pt x="1239" y="510"/>
                  </a:cubicBezTo>
                  <a:cubicBezTo>
                    <a:pt x="1496" y="510"/>
                    <a:pt x="1496" y="510"/>
                    <a:pt x="1496" y="510"/>
                  </a:cubicBezTo>
                  <a:lnTo>
                    <a:pt x="1496" y="500"/>
                  </a:lnTo>
                  <a:close/>
                  <a:moveTo>
                    <a:pt x="2094" y="0"/>
                  </a:moveTo>
                  <a:cubicBezTo>
                    <a:pt x="1934" y="900"/>
                    <a:pt x="1934" y="900"/>
                    <a:pt x="1934" y="900"/>
                  </a:cubicBezTo>
                  <a:cubicBezTo>
                    <a:pt x="1715" y="900"/>
                    <a:pt x="1715" y="900"/>
                    <a:pt x="1715" y="900"/>
                  </a:cubicBezTo>
                  <a:cubicBezTo>
                    <a:pt x="1866" y="44"/>
                    <a:pt x="1866" y="44"/>
                    <a:pt x="1866" y="44"/>
                  </a:cubicBezTo>
                  <a:lnTo>
                    <a:pt x="2094" y="0"/>
                  </a:lnTo>
                  <a:close/>
                  <a:moveTo>
                    <a:pt x="2416" y="0"/>
                  </a:moveTo>
                  <a:cubicBezTo>
                    <a:pt x="2256" y="900"/>
                    <a:pt x="2256" y="900"/>
                    <a:pt x="2256" y="900"/>
                  </a:cubicBezTo>
                  <a:cubicBezTo>
                    <a:pt x="2038" y="900"/>
                    <a:pt x="2038" y="900"/>
                    <a:pt x="2038" y="900"/>
                  </a:cubicBezTo>
                  <a:cubicBezTo>
                    <a:pt x="2189" y="44"/>
                    <a:pt x="2189" y="44"/>
                    <a:pt x="2189" y="44"/>
                  </a:cubicBezTo>
                  <a:lnTo>
                    <a:pt x="2416" y="0"/>
                  </a:lnTo>
                  <a:close/>
                  <a:moveTo>
                    <a:pt x="3117" y="552"/>
                  </a:moveTo>
                  <a:cubicBezTo>
                    <a:pt x="3117" y="751"/>
                    <a:pt x="2943" y="928"/>
                    <a:pt x="2709" y="928"/>
                  </a:cubicBezTo>
                  <a:cubicBezTo>
                    <a:pt x="2518" y="928"/>
                    <a:pt x="2384" y="807"/>
                    <a:pt x="2384" y="633"/>
                  </a:cubicBezTo>
                  <a:cubicBezTo>
                    <a:pt x="2384" y="437"/>
                    <a:pt x="2556" y="260"/>
                    <a:pt x="2792" y="260"/>
                  </a:cubicBezTo>
                  <a:cubicBezTo>
                    <a:pt x="2986" y="260"/>
                    <a:pt x="3117" y="382"/>
                    <a:pt x="3117" y="552"/>
                  </a:cubicBezTo>
                  <a:close/>
                  <a:moveTo>
                    <a:pt x="2888" y="556"/>
                  </a:moveTo>
                  <a:cubicBezTo>
                    <a:pt x="2888" y="467"/>
                    <a:pt x="2851" y="421"/>
                    <a:pt x="2778" y="421"/>
                  </a:cubicBezTo>
                  <a:cubicBezTo>
                    <a:pt x="2679" y="421"/>
                    <a:pt x="2613" y="510"/>
                    <a:pt x="2613" y="628"/>
                  </a:cubicBezTo>
                  <a:cubicBezTo>
                    <a:pt x="2613" y="717"/>
                    <a:pt x="2650" y="764"/>
                    <a:pt x="2721" y="764"/>
                  </a:cubicBezTo>
                  <a:cubicBezTo>
                    <a:pt x="2820" y="764"/>
                    <a:pt x="2888" y="675"/>
                    <a:pt x="2888" y="5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11867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'ell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14383AA-406F-4934-9753-4ED3F060DFD5}"/>
              </a:ext>
            </a:extLst>
          </p:cNvPr>
          <p:cNvGrpSpPr/>
          <p:nvPr userDrawn="1"/>
        </p:nvGrpSpPr>
        <p:grpSpPr>
          <a:xfrm>
            <a:off x="6" y="677021"/>
            <a:ext cx="11798299" cy="5784425"/>
            <a:chOff x="1" y="677021"/>
            <a:chExt cx="11798299" cy="5784424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1650E10-6968-4460-A8AF-F2E779CEF2A5}"/>
                </a:ext>
              </a:extLst>
            </p:cNvPr>
            <p:cNvSpPr/>
            <p:nvPr userDrawn="1"/>
          </p:nvSpPr>
          <p:spPr>
            <a:xfrm>
              <a:off x="1" y="677021"/>
              <a:ext cx="6668655" cy="5490104"/>
            </a:xfrm>
            <a:custGeom>
              <a:avLst/>
              <a:gdLst>
                <a:gd name="connsiteX0" fmla="*/ 0 w 6668655"/>
                <a:gd name="connsiteY0" fmla="*/ 0 h 5490104"/>
                <a:gd name="connsiteX1" fmla="*/ 560043 w 6668655"/>
                <a:gd name="connsiteY1" fmla="*/ 11421 h 5490104"/>
                <a:gd name="connsiteX2" fmla="*/ 6668655 w 6668655"/>
                <a:gd name="connsiteY2" fmla="*/ 2745052 h 5490104"/>
                <a:gd name="connsiteX3" fmla="*/ 560043 w 6668655"/>
                <a:gd name="connsiteY3" fmla="*/ 5478684 h 5490104"/>
                <a:gd name="connsiteX4" fmla="*/ 0 w 6668655"/>
                <a:gd name="connsiteY4" fmla="*/ 5490104 h 54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8655" h="5490104">
                  <a:moveTo>
                    <a:pt x="0" y="0"/>
                  </a:moveTo>
                  <a:lnTo>
                    <a:pt x="560043" y="11421"/>
                  </a:lnTo>
                  <a:cubicBezTo>
                    <a:pt x="3991160" y="152137"/>
                    <a:pt x="6668655" y="1322323"/>
                    <a:pt x="6668655" y="2745052"/>
                  </a:cubicBezTo>
                  <a:cubicBezTo>
                    <a:pt x="6668655" y="4167782"/>
                    <a:pt x="3991160" y="5337968"/>
                    <a:pt x="560043" y="5478684"/>
                  </a:cubicBezTo>
                  <a:lnTo>
                    <a:pt x="0" y="54901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D3DD1D8-0C73-4A37-A95C-268574090C54}"/>
                </a:ext>
              </a:extLst>
            </p:cNvPr>
            <p:cNvGrpSpPr/>
            <p:nvPr userDrawn="1"/>
          </p:nvGrpSpPr>
          <p:grpSpPr>
            <a:xfrm>
              <a:off x="7813964" y="5310073"/>
              <a:ext cx="3984336" cy="1151372"/>
              <a:chOff x="7813964" y="5310073"/>
              <a:chExt cx="3984336" cy="1151372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862DEE85-834B-4C70-92E6-AF11FA179D4E}"/>
                  </a:ext>
                </a:extLst>
              </p:cNvPr>
              <p:cNvGrpSpPr/>
              <p:nvPr userDrawn="1"/>
            </p:nvGrpSpPr>
            <p:grpSpPr>
              <a:xfrm>
                <a:off x="7813964" y="5788335"/>
                <a:ext cx="2358245" cy="226732"/>
                <a:chOff x="19621500" y="3297238"/>
                <a:chExt cx="3170238" cy="304801"/>
              </a:xfrm>
            </p:grpSpPr>
            <p:sp>
              <p:nvSpPr>
                <p:cNvPr id="19" name="Freeform 5">
                  <a:extLst>
                    <a:ext uri="{FF2B5EF4-FFF2-40B4-BE49-F238E27FC236}">
                      <a16:creationId xmlns:a16="http://schemas.microsoft.com/office/drawing/2014/main" id="{3A226D94-1B63-4346-8FC1-2D0B0D0F4246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962150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" name="Freeform 6">
                  <a:extLst>
                    <a:ext uri="{FF2B5EF4-FFF2-40B4-BE49-F238E27FC236}">
                      <a16:creationId xmlns:a16="http://schemas.microsoft.com/office/drawing/2014/main" id="{40C0D4B4-FBCA-4E7D-A14C-36B275690E8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9829463" y="3370263"/>
                  <a:ext cx="190500" cy="161925"/>
                </a:xfrm>
                <a:custGeom>
                  <a:avLst/>
                  <a:gdLst>
                    <a:gd name="T0" fmla="*/ 120 w 120"/>
                    <a:gd name="T1" fmla="*/ 0 h 102"/>
                    <a:gd name="T2" fmla="*/ 62 w 120"/>
                    <a:gd name="T3" fmla="*/ 102 h 102"/>
                    <a:gd name="T4" fmla="*/ 29 w 120"/>
                    <a:gd name="T5" fmla="*/ 102 h 102"/>
                    <a:gd name="T6" fmla="*/ 0 w 120"/>
                    <a:gd name="T7" fmla="*/ 0 h 102"/>
                    <a:gd name="T8" fmla="*/ 35 w 120"/>
                    <a:gd name="T9" fmla="*/ 0 h 102"/>
                    <a:gd name="T10" fmla="*/ 52 w 120"/>
                    <a:gd name="T11" fmla="*/ 67 h 102"/>
                    <a:gd name="T12" fmla="*/ 87 w 120"/>
                    <a:gd name="T13" fmla="*/ 0 h 102"/>
                    <a:gd name="T14" fmla="*/ 120 w 120"/>
                    <a:gd name="T1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0" h="102">
                      <a:moveTo>
                        <a:pt x="120" y="0"/>
                      </a:moveTo>
                      <a:lnTo>
                        <a:pt x="62" y="102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2" y="67"/>
                      </a:lnTo>
                      <a:lnTo>
                        <a:pt x="87" y="0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" name="Freeform 7">
                  <a:extLst>
                    <a:ext uri="{FF2B5EF4-FFF2-40B4-BE49-F238E27FC236}">
                      <a16:creationId xmlns:a16="http://schemas.microsoft.com/office/drawing/2014/main" id="{83CFD990-3722-42A7-9550-9C9543697AA9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0013613" y="3363913"/>
                  <a:ext cx="188913" cy="176213"/>
                </a:xfrm>
                <a:custGeom>
                  <a:avLst/>
                  <a:gdLst>
                    <a:gd name="T0" fmla="*/ 106 w 114"/>
                    <a:gd name="T1" fmla="*/ 88 h 106"/>
                    <a:gd name="T2" fmla="*/ 54 w 114"/>
                    <a:gd name="T3" fmla="*/ 106 h 106"/>
                    <a:gd name="T4" fmla="*/ 4 w 114"/>
                    <a:gd name="T5" fmla="*/ 55 h 106"/>
                    <a:gd name="T6" fmla="*/ 69 w 114"/>
                    <a:gd name="T7" fmla="*/ 0 h 106"/>
                    <a:gd name="T8" fmla="*/ 111 w 114"/>
                    <a:gd name="T9" fmla="*/ 44 h 106"/>
                    <a:gd name="T10" fmla="*/ 105 w 114"/>
                    <a:gd name="T11" fmla="*/ 61 h 106"/>
                    <a:gd name="T12" fmla="*/ 35 w 114"/>
                    <a:gd name="T13" fmla="*/ 61 h 106"/>
                    <a:gd name="T14" fmla="*/ 64 w 114"/>
                    <a:gd name="T15" fmla="*/ 81 h 106"/>
                    <a:gd name="T16" fmla="*/ 97 w 114"/>
                    <a:gd name="T17" fmla="*/ 72 h 106"/>
                    <a:gd name="T18" fmla="*/ 106 w 114"/>
                    <a:gd name="T19" fmla="*/ 88 h 106"/>
                    <a:gd name="T20" fmla="*/ 38 w 114"/>
                    <a:gd name="T21" fmla="*/ 40 h 106"/>
                    <a:gd name="T22" fmla="*/ 83 w 114"/>
                    <a:gd name="T23" fmla="*/ 40 h 106"/>
                    <a:gd name="T24" fmla="*/ 66 w 114"/>
                    <a:gd name="T25" fmla="*/ 22 h 106"/>
                    <a:gd name="T26" fmla="*/ 38 w 114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4" y="18"/>
                        <a:pt x="111" y="44"/>
                      </a:cubicBezTo>
                      <a:cubicBezTo>
                        <a:pt x="110" y="51"/>
                        <a:pt x="107" y="57"/>
                        <a:pt x="105" y="61"/>
                      </a:cubicBezTo>
                      <a:cubicBezTo>
                        <a:pt x="35" y="61"/>
                        <a:pt x="35" y="61"/>
                        <a:pt x="35" y="61"/>
                      </a:cubicBezTo>
                      <a:cubicBezTo>
                        <a:pt x="37" y="74"/>
                        <a:pt x="47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3" y="40"/>
                        <a:pt x="83" y="40"/>
                        <a:pt x="83" y="40"/>
                      </a:cubicBezTo>
                      <a:cubicBezTo>
                        <a:pt x="84" y="29"/>
                        <a:pt x="77" y="22"/>
                        <a:pt x="66" y="22"/>
                      </a:cubicBezTo>
                      <a:cubicBezTo>
                        <a:pt x="55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" name="Freeform 8">
                  <a:extLst>
                    <a:ext uri="{FF2B5EF4-FFF2-40B4-BE49-F238E27FC236}">
                      <a16:creationId xmlns:a16="http://schemas.microsoft.com/office/drawing/2014/main" id="{7C7F4A8C-74E7-4FB9-8298-D443C8B044A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219988" y="3365501"/>
                  <a:ext cx="146050" cy="166688"/>
                </a:xfrm>
                <a:custGeom>
                  <a:avLst/>
                  <a:gdLst>
                    <a:gd name="T0" fmla="*/ 89 w 89"/>
                    <a:gd name="T1" fmla="*/ 2 h 100"/>
                    <a:gd name="T2" fmla="*/ 84 w 89"/>
                    <a:gd name="T3" fmla="*/ 32 h 100"/>
                    <a:gd name="T4" fmla="*/ 70 w 89"/>
                    <a:gd name="T5" fmla="*/ 30 h 100"/>
                    <a:gd name="T6" fmla="*/ 40 w 89"/>
                    <a:gd name="T7" fmla="*/ 46 h 100"/>
                    <a:gd name="T8" fmla="*/ 32 w 89"/>
                    <a:gd name="T9" fmla="*/ 100 h 100"/>
                    <a:gd name="T10" fmla="*/ 0 w 89"/>
                    <a:gd name="T11" fmla="*/ 100 h 100"/>
                    <a:gd name="T12" fmla="*/ 14 w 89"/>
                    <a:gd name="T13" fmla="*/ 6 h 100"/>
                    <a:gd name="T14" fmla="*/ 45 w 89"/>
                    <a:gd name="T15" fmla="*/ 0 h 100"/>
                    <a:gd name="T16" fmla="*/ 42 w 89"/>
                    <a:gd name="T17" fmla="*/ 22 h 100"/>
                    <a:gd name="T18" fmla="*/ 77 w 89"/>
                    <a:gd name="T19" fmla="*/ 0 h 100"/>
                    <a:gd name="T20" fmla="*/ 89 w 89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9" h="100">
                      <a:moveTo>
                        <a:pt x="89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5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9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" name="Freeform 9">
                  <a:extLst>
                    <a:ext uri="{FF2B5EF4-FFF2-40B4-BE49-F238E27FC236}">
                      <a16:creationId xmlns:a16="http://schemas.microsoft.com/office/drawing/2014/main" id="{F7B9B99B-216F-4618-91FA-8336EB6BDE44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369213" y="3370263"/>
                  <a:ext cx="187325" cy="228600"/>
                </a:xfrm>
                <a:custGeom>
                  <a:avLst/>
                  <a:gdLst>
                    <a:gd name="T0" fmla="*/ 118 w 118"/>
                    <a:gd name="T1" fmla="*/ 0 h 144"/>
                    <a:gd name="T2" fmla="*/ 38 w 118"/>
                    <a:gd name="T3" fmla="*/ 144 h 144"/>
                    <a:gd name="T4" fmla="*/ 5 w 118"/>
                    <a:gd name="T5" fmla="*/ 144 h 144"/>
                    <a:gd name="T6" fmla="*/ 31 w 118"/>
                    <a:gd name="T7" fmla="*/ 102 h 144"/>
                    <a:gd name="T8" fmla="*/ 0 w 118"/>
                    <a:gd name="T9" fmla="*/ 0 h 144"/>
                    <a:gd name="T10" fmla="*/ 37 w 118"/>
                    <a:gd name="T11" fmla="*/ 0 h 144"/>
                    <a:gd name="T12" fmla="*/ 53 w 118"/>
                    <a:gd name="T13" fmla="*/ 64 h 144"/>
                    <a:gd name="T14" fmla="*/ 86 w 118"/>
                    <a:gd name="T15" fmla="*/ 0 h 144"/>
                    <a:gd name="T16" fmla="*/ 118 w 118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8" h="144">
                      <a:moveTo>
                        <a:pt x="118" y="0"/>
                      </a:moveTo>
                      <a:lnTo>
                        <a:pt x="38" y="144"/>
                      </a:lnTo>
                      <a:lnTo>
                        <a:pt x="5" y="144"/>
                      </a:lnTo>
                      <a:lnTo>
                        <a:pt x="31" y="102"/>
                      </a:lnTo>
                      <a:lnTo>
                        <a:pt x="0" y="0"/>
                      </a:lnTo>
                      <a:lnTo>
                        <a:pt x="37" y="0"/>
                      </a:lnTo>
                      <a:lnTo>
                        <a:pt x="53" y="64"/>
                      </a:lnTo>
                      <a:lnTo>
                        <a:pt x="86" y="0"/>
                      </a:lnTo>
                      <a:lnTo>
                        <a:pt x="11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" name="Freeform 10">
                  <a:extLst>
                    <a:ext uri="{FF2B5EF4-FFF2-40B4-BE49-F238E27FC236}">
                      <a16:creationId xmlns:a16="http://schemas.microsoft.com/office/drawing/2014/main" id="{AE1C6143-B7CF-427C-B893-90E0AFADA39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561300" y="3370263"/>
                  <a:ext cx="266700" cy="161925"/>
                </a:xfrm>
                <a:custGeom>
                  <a:avLst/>
                  <a:gdLst>
                    <a:gd name="T0" fmla="*/ 168 w 168"/>
                    <a:gd name="T1" fmla="*/ 0 h 102"/>
                    <a:gd name="T2" fmla="*/ 119 w 168"/>
                    <a:gd name="T3" fmla="*/ 102 h 102"/>
                    <a:gd name="T4" fmla="*/ 88 w 168"/>
                    <a:gd name="T5" fmla="*/ 102 h 102"/>
                    <a:gd name="T6" fmla="*/ 76 w 168"/>
                    <a:gd name="T7" fmla="*/ 45 h 102"/>
                    <a:gd name="T8" fmla="*/ 52 w 168"/>
                    <a:gd name="T9" fmla="*/ 102 h 102"/>
                    <a:gd name="T10" fmla="*/ 20 w 168"/>
                    <a:gd name="T11" fmla="*/ 102 h 102"/>
                    <a:gd name="T12" fmla="*/ 0 w 168"/>
                    <a:gd name="T13" fmla="*/ 0 h 102"/>
                    <a:gd name="T14" fmla="*/ 34 w 168"/>
                    <a:gd name="T15" fmla="*/ 0 h 102"/>
                    <a:gd name="T16" fmla="*/ 43 w 168"/>
                    <a:gd name="T17" fmla="*/ 67 h 102"/>
                    <a:gd name="T18" fmla="*/ 70 w 168"/>
                    <a:gd name="T19" fmla="*/ 0 h 102"/>
                    <a:gd name="T20" fmla="*/ 100 w 168"/>
                    <a:gd name="T21" fmla="*/ 0 h 102"/>
                    <a:gd name="T22" fmla="*/ 111 w 168"/>
                    <a:gd name="T23" fmla="*/ 67 h 102"/>
                    <a:gd name="T24" fmla="*/ 137 w 168"/>
                    <a:gd name="T25" fmla="*/ 0 h 102"/>
                    <a:gd name="T26" fmla="*/ 168 w 168"/>
                    <a:gd name="T2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102">
                      <a:moveTo>
                        <a:pt x="168" y="0"/>
                      </a:moveTo>
                      <a:lnTo>
                        <a:pt x="119" y="102"/>
                      </a:lnTo>
                      <a:lnTo>
                        <a:pt x="88" y="102"/>
                      </a:lnTo>
                      <a:lnTo>
                        <a:pt x="76" y="45"/>
                      </a:lnTo>
                      <a:lnTo>
                        <a:pt x="52" y="102"/>
                      </a:lnTo>
                      <a:lnTo>
                        <a:pt x="20" y="102"/>
                      </a:ln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43" y="67"/>
                      </a:lnTo>
                      <a:lnTo>
                        <a:pt x="70" y="0"/>
                      </a:lnTo>
                      <a:lnTo>
                        <a:pt x="100" y="0"/>
                      </a:lnTo>
                      <a:lnTo>
                        <a:pt x="111" y="67"/>
                      </a:lnTo>
                      <a:lnTo>
                        <a:pt x="137" y="0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" name="Freeform 11">
                  <a:extLst>
                    <a:ext uri="{FF2B5EF4-FFF2-40B4-BE49-F238E27FC236}">
                      <a16:creationId xmlns:a16="http://schemas.microsoft.com/office/drawing/2014/main" id="{FBFCAFDA-A5EE-41A1-8E72-83BDEE516B3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831175" y="3297238"/>
                  <a:ext cx="192088" cy="234950"/>
                </a:xfrm>
                <a:custGeom>
                  <a:avLst/>
                  <a:gdLst>
                    <a:gd name="T0" fmla="*/ 112 w 116"/>
                    <a:gd name="T1" fmla="*/ 84 h 142"/>
                    <a:gd name="T2" fmla="*/ 103 w 116"/>
                    <a:gd name="T3" fmla="*/ 142 h 142"/>
                    <a:gd name="T4" fmla="*/ 71 w 116"/>
                    <a:gd name="T5" fmla="*/ 142 h 142"/>
                    <a:gd name="T6" fmla="*/ 78 w 116"/>
                    <a:gd name="T7" fmla="*/ 94 h 142"/>
                    <a:gd name="T8" fmla="*/ 64 w 116"/>
                    <a:gd name="T9" fmla="*/ 69 h 142"/>
                    <a:gd name="T10" fmla="*/ 41 w 116"/>
                    <a:gd name="T11" fmla="*/ 81 h 142"/>
                    <a:gd name="T12" fmla="*/ 32 w 116"/>
                    <a:gd name="T13" fmla="*/ 142 h 142"/>
                    <a:gd name="T14" fmla="*/ 0 w 116"/>
                    <a:gd name="T15" fmla="*/ 142 h 142"/>
                    <a:gd name="T16" fmla="*/ 19 w 116"/>
                    <a:gd name="T17" fmla="*/ 6 h 142"/>
                    <a:gd name="T18" fmla="*/ 52 w 116"/>
                    <a:gd name="T19" fmla="*/ 0 h 142"/>
                    <a:gd name="T20" fmla="*/ 44 w 116"/>
                    <a:gd name="T21" fmla="*/ 57 h 142"/>
                    <a:gd name="T22" fmla="*/ 81 w 116"/>
                    <a:gd name="T23" fmla="*/ 42 h 142"/>
                    <a:gd name="T24" fmla="*/ 112 w 116"/>
                    <a:gd name="T25" fmla="*/ 84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6" h="142">
                      <a:moveTo>
                        <a:pt x="112" y="84"/>
                      </a:moveTo>
                      <a:cubicBezTo>
                        <a:pt x="103" y="142"/>
                        <a:pt x="103" y="142"/>
                        <a:pt x="103" y="142"/>
                      </a:cubicBezTo>
                      <a:cubicBezTo>
                        <a:pt x="71" y="142"/>
                        <a:pt x="71" y="142"/>
                        <a:pt x="71" y="142"/>
                      </a:cubicBezTo>
                      <a:cubicBezTo>
                        <a:pt x="78" y="94"/>
                        <a:pt x="78" y="94"/>
                        <a:pt x="78" y="94"/>
                      </a:cubicBezTo>
                      <a:cubicBezTo>
                        <a:pt x="80" y="78"/>
                        <a:pt x="76" y="69"/>
                        <a:pt x="64" y="69"/>
                      </a:cubicBezTo>
                      <a:cubicBezTo>
                        <a:pt x="56" y="69"/>
                        <a:pt x="47" y="74"/>
                        <a:pt x="41" y="81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54" y="47"/>
                        <a:pt x="68" y="42"/>
                        <a:pt x="81" y="42"/>
                      </a:cubicBezTo>
                      <a:cubicBezTo>
                        <a:pt x="101" y="42"/>
                        <a:pt x="116" y="56"/>
                        <a:pt x="112" y="8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Freeform 12">
                  <a:extLst>
                    <a:ext uri="{FF2B5EF4-FFF2-40B4-BE49-F238E27FC236}">
                      <a16:creationId xmlns:a16="http://schemas.microsoft.com/office/drawing/2014/main" id="{01B5A82B-ECF4-4940-9464-D51159EEAA6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03755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5 w 115"/>
                    <a:gd name="T3" fmla="*/ 106 h 106"/>
                    <a:gd name="T4" fmla="*/ 5 w 115"/>
                    <a:gd name="T5" fmla="*/ 55 h 106"/>
                    <a:gd name="T6" fmla="*/ 70 w 115"/>
                    <a:gd name="T7" fmla="*/ 0 h 106"/>
                    <a:gd name="T8" fmla="*/ 111 w 115"/>
                    <a:gd name="T9" fmla="*/ 44 h 106"/>
                    <a:gd name="T10" fmla="*/ 106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8 w 115"/>
                    <a:gd name="T17" fmla="*/ 72 h 106"/>
                    <a:gd name="T18" fmla="*/ 106 w 115"/>
                    <a:gd name="T19" fmla="*/ 88 h 106"/>
                    <a:gd name="T20" fmla="*/ 39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9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4" y="97"/>
                        <a:pt x="76" y="106"/>
                        <a:pt x="55" y="106"/>
                      </a:cubicBezTo>
                      <a:cubicBezTo>
                        <a:pt x="21" y="106"/>
                        <a:pt x="0" y="86"/>
                        <a:pt x="5" y="55"/>
                      </a:cubicBez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6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8" y="77"/>
                        <a:pt x="98" y="72"/>
                      </a:cubicBezTo>
                      <a:lnTo>
                        <a:pt x="106" y="88"/>
                      </a:lnTo>
                      <a:close/>
                      <a:moveTo>
                        <a:pt x="39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9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" name="Freeform 13">
                  <a:extLst>
                    <a:ext uri="{FF2B5EF4-FFF2-40B4-BE49-F238E27FC236}">
                      <a16:creationId xmlns:a16="http://schemas.microsoft.com/office/drawing/2014/main" id="{1BC4C15D-A823-4DB9-BD0C-6F6A79FF697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245513" y="3365501"/>
                  <a:ext cx="144463" cy="166688"/>
                </a:xfrm>
                <a:custGeom>
                  <a:avLst/>
                  <a:gdLst>
                    <a:gd name="T0" fmla="*/ 88 w 88"/>
                    <a:gd name="T1" fmla="*/ 2 h 100"/>
                    <a:gd name="T2" fmla="*/ 84 w 88"/>
                    <a:gd name="T3" fmla="*/ 32 h 100"/>
                    <a:gd name="T4" fmla="*/ 70 w 88"/>
                    <a:gd name="T5" fmla="*/ 30 h 100"/>
                    <a:gd name="T6" fmla="*/ 40 w 88"/>
                    <a:gd name="T7" fmla="*/ 46 h 100"/>
                    <a:gd name="T8" fmla="*/ 32 w 88"/>
                    <a:gd name="T9" fmla="*/ 100 h 100"/>
                    <a:gd name="T10" fmla="*/ 0 w 88"/>
                    <a:gd name="T11" fmla="*/ 100 h 100"/>
                    <a:gd name="T12" fmla="*/ 13 w 88"/>
                    <a:gd name="T13" fmla="*/ 6 h 100"/>
                    <a:gd name="T14" fmla="*/ 45 w 88"/>
                    <a:gd name="T15" fmla="*/ 0 h 100"/>
                    <a:gd name="T16" fmla="*/ 42 w 88"/>
                    <a:gd name="T17" fmla="*/ 22 h 100"/>
                    <a:gd name="T18" fmla="*/ 77 w 88"/>
                    <a:gd name="T19" fmla="*/ 0 h 100"/>
                    <a:gd name="T20" fmla="*/ 88 w 88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" h="100">
                      <a:moveTo>
                        <a:pt x="88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4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8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" name="Freeform 14">
                  <a:extLst>
                    <a:ext uri="{FF2B5EF4-FFF2-40B4-BE49-F238E27FC236}">
                      <a16:creationId xmlns:a16="http://schemas.microsoft.com/office/drawing/2014/main" id="{158158B5-D259-4797-89FC-526093CB4B04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389975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4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" name="Freeform 15">
                  <a:extLst>
                    <a:ext uri="{FF2B5EF4-FFF2-40B4-BE49-F238E27FC236}">
                      <a16:creationId xmlns:a16="http://schemas.microsoft.com/office/drawing/2014/main" id="{B410B6E0-AD3E-45B1-A8A7-1856AF58425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678900" y="3370263"/>
                  <a:ext cx="184150" cy="228600"/>
                </a:xfrm>
                <a:custGeom>
                  <a:avLst/>
                  <a:gdLst>
                    <a:gd name="T0" fmla="*/ 116 w 116"/>
                    <a:gd name="T1" fmla="*/ 0 h 144"/>
                    <a:gd name="T2" fmla="*/ 36 w 116"/>
                    <a:gd name="T3" fmla="*/ 144 h 144"/>
                    <a:gd name="T4" fmla="*/ 4 w 116"/>
                    <a:gd name="T5" fmla="*/ 144 h 144"/>
                    <a:gd name="T6" fmla="*/ 29 w 116"/>
                    <a:gd name="T7" fmla="*/ 102 h 144"/>
                    <a:gd name="T8" fmla="*/ 0 w 116"/>
                    <a:gd name="T9" fmla="*/ 0 h 144"/>
                    <a:gd name="T10" fmla="*/ 35 w 116"/>
                    <a:gd name="T11" fmla="*/ 0 h 144"/>
                    <a:gd name="T12" fmla="*/ 51 w 116"/>
                    <a:gd name="T13" fmla="*/ 64 h 144"/>
                    <a:gd name="T14" fmla="*/ 84 w 116"/>
                    <a:gd name="T15" fmla="*/ 0 h 144"/>
                    <a:gd name="T16" fmla="*/ 116 w 116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144">
                      <a:moveTo>
                        <a:pt x="116" y="0"/>
                      </a:moveTo>
                      <a:lnTo>
                        <a:pt x="36" y="144"/>
                      </a:lnTo>
                      <a:lnTo>
                        <a:pt x="4" y="144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1" y="64"/>
                      </a:lnTo>
                      <a:lnTo>
                        <a:pt x="84" y="0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16">
                  <a:extLst>
                    <a:ext uri="{FF2B5EF4-FFF2-40B4-BE49-F238E27FC236}">
                      <a16:creationId xmlns:a16="http://schemas.microsoft.com/office/drawing/2014/main" id="{67A4ADF5-018F-4E65-AEBA-6F81AA6D6A94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85828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2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9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4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" name="Freeform 17">
                  <a:extLst>
                    <a:ext uri="{FF2B5EF4-FFF2-40B4-BE49-F238E27FC236}">
                      <a16:creationId xmlns:a16="http://schemas.microsoft.com/office/drawing/2014/main" id="{D2A47364-3209-476A-9BEC-5D009E103D6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2078950" y="3365501"/>
                  <a:ext cx="190500" cy="171450"/>
                </a:xfrm>
                <a:custGeom>
                  <a:avLst/>
                  <a:gdLst>
                    <a:gd name="T0" fmla="*/ 115 w 115"/>
                    <a:gd name="T1" fmla="*/ 0 h 103"/>
                    <a:gd name="T2" fmla="*/ 101 w 115"/>
                    <a:gd name="T3" fmla="*/ 100 h 103"/>
                    <a:gd name="T4" fmla="*/ 70 w 115"/>
                    <a:gd name="T5" fmla="*/ 100 h 103"/>
                    <a:gd name="T6" fmla="*/ 72 w 115"/>
                    <a:gd name="T7" fmla="*/ 88 h 103"/>
                    <a:gd name="T8" fmla="*/ 35 w 115"/>
                    <a:gd name="T9" fmla="*/ 103 h 103"/>
                    <a:gd name="T10" fmla="*/ 4 w 115"/>
                    <a:gd name="T11" fmla="*/ 61 h 103"/>
                    <a:gd name="T12" fmla="*/ 12 w 115"/>
                    <a:gd name="T13" fmla="*/ 6 h 103"/>
                    <a:gd name="T14" fmla="*/ 45 w 115"/>
                    <a:gd name="T15" fmla="*/ 0 h 103"/>
                    <a:gd name="T16" fmla="*/ 38 w 115"/>
                    <a:gd name="T17" fmla="*/ 51 h 103"/>
                    <a:gd name="T18" fmla="*/ 51 w 115"/>
                    <a:gd name="T19" fmla="*/ 77 h 103"/>
                    <a:gd name="T20" fmla="*/ 74 w 115"/>
                    <a:gd name="T21" fmla="*/ 66 h 103"/>
                    <a:gd name="T22" fmla="*/ 82 w 115"/>
                    <a:gd name="T23" fmla="*/ 6 h 103"/>
                    <a:gd name="T24" fmla="*/ 115 w 115"/>
                    <a:gd name="T25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" h="103">
                      <a:moveTo>
                        <a:pt x="115" y="0"/>
                      </a:moveTo>
                      <a:cubicBezTo>
                        <a:pt x="101" y="100"/>
                        <a:pt x="101" y="100"/>
                        <a:pt x="101" y="100"/>
                      </a:cubicBezTo>
                      <a:cubicBezTo>
                        <a:pt x="70" y="100"/>
                        <a:pt x="70" y="100"/>
                        <a:pt x="70" y="100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62" y="98"/>
                        <a:pt x="48" y="103"/>
                        <a:pt x="35" y="103"/>
                      </a:cubicBezTo>
                      <a:cubicBezTo>
                        <a:pt x="14" y="103"/>
                        <a:pt x="0" y="89"/>
                        <a:pt x="4" y="61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38" y="51"/>
                        <a:pt x="38" y="51"/>
                        <a:pt x="38" y="51"/>
                      </a:cubicBezTo>
                      <a:cubicBezTo>
                        <a:pt x="35" y="68"/>
                        <a:pt x="40" y="77"/>
                        <a:pt x="51" y="77"/>
                      </a:cubicBezTo>
                      <a:cubicBezTo>
                        <a:pt x="59" y="77"/>
                        <a:pt x="67" y="73"/>
                        <a:pt x="74" y="66"/>
                      </a:cubicBezTo>
                      <a:cubicBezTo>
                        <a:pt x="82" y="6"/>
                        <a:pt x="82" y="6"/>
                        <a:pt x="82" y="6"/>
                      </a:cubicBezTo>
                      <a:lnTo>
                        <a:pt x="115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" name="Freeform 18">
                  <a:extLst>
                    <a:ext uri="{FF2B5EF4-FFF2-40B4-BE49-F238E27FC236}">
                      <a16:creationId xmlns:a16="http://schemas.microsoft.com/office/drawing/2014/main" id="{C8CBCCCA-8618-4671-94B6-36AC946F708C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353588" y="3365501"/>
                  <a:ext cx="233363" cy="236538"/>
                </a:xfrm>
                <a:custGeom>
                  <a:avLst/>
                  <a:gdLst>
                    <a:gd name="T0" fmla="*/ 138 w 141"/>
                    <a:gd name="T1" fmla="*/ 30 h 143"/>
                    <a:gd name="T2" fmla="*/ 114 w 141"/>
                    <a:gd name="T3" fmla="*/ 29 h 143"/>
                    <a:gd name="T4" fmla="*/ 117 w 141"/>
                    <a:gd name="T5" fmla="*/ 47 h 143"/>
                    <a:gd name="T6" fmla="*/ 59 w 141"/>
                    <a:gd name="T7" fmla="*/ 88 h 143"/>
                    <a:gd name="T8" fmla="*/ 54 w 141"/>
                    <a:gd name="T9" fmla="*/ 88 h 143"/>
                    <a:gd name="T10" fmla="*/ 35 w 141"/>
                    <a:gd name="T11" fmla="*/ 113 h 143"/>
                    <a:gd name="T12" fmla="*/ 84 w 141"/>
                    <a:gd name="T13" fmla="*/ 98 h 143"/>
                    <a:gd name="T14" fmla="*/ 118 w 141"/>
                    <a:gd name="T15" fmla="*/ 139 h 143"/>
                    <a:gd name="T16" fmla="*/ 84 w 141"/>
                    <a:gd name="T17" fmla="*/ 143 h 143"/>
                    <a:gd name="T18" fmla="*/ 66 w 141"/>
                    <a:gd name="T19" fmla="*/ 125 h 143"/>
                    <a:gd name="T20" fmla="*/ 18 w 141"/>
                    <a:gd name="T21" fmla="*/ 139 h 143"/>
                    <a:gd name="T22" fmla="*/ 0 w 141"/>
                    <a:gd name="T23" fmla="*/ 127 h 143"/>
                    <a:gd name="T24" fmla="*/ 27 w 141"/>
                    <a:gd name="T25" fmla="*/ 79 h 143"/>
                    <a:gd name="T26" fmla="*/ 11 w 141"/>
                    <a:gd name="T27" fmla="*/ 45 h 143"/>
                    <a:gd name="T28" fmla="*/ 71 w 141"/>
                    <a:gd name="T29" fmla="*/ 0 h 143"/>
                    <a:gd name="T30" fmla="*/ 91 w 141"/>
                    <a:gd name="T31" fmla="*/ 3 h 143"/>
                    <a:gd name="T32" fmla="*/ 141 w 141"/>
                    <a:gd name="T33" fmla="*/ 3 h 143"/>
                    <a:gd name="T34" fmla="*/ 138 w 141"/>
                    <a:gd name="T35" fmla="*/ 30 h 143"/>
                    <a:gd name="T36" fmla="*/ 87 w 141"/>
                    <a:gd name="T37" fmla="*/ 45 h 143"/>
                    <a:gd name="T38" fmla="*/ 67 w 141"/>
                    <a:gd name="T39" fmla="*/ 23 h 143"/>
                    <a:gd name="T40" fmla="*/ 42 w 141"/>
                    <a:gd name="T41" fmla="*/ 44 h 143"/>
                    <a:gd name="T42" fmla="*/ 62 w 141"/>
                    <a:gd name="T43" fmla="*/ 66 h 143"/>
                    <a:gd name="T44" fmla="*/ 87 w 141"/>
                    <a:gd name="T45" fmla="*/ 45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1" h="143">
                      <a:moveTo>
                        <a:pt x="138" y="30"/>
                      </a:moveTo>
                      <a:cubicBezTo>
                        <a:pt x="114" y="29"/>
                        <a:pt x="114" y="29"/>
                        <a:pt x="114" y="29"/>
                      </a:cubicBezTo>
                      <a:cubicBezTo>
                        <a:pt x="117" y="34"/>
                        <a:pt x="118" y="40"/>
                        <a:pt x="117" y="47"/>
                      </a:cubicBezTo>
                      <a:cubicBezTo>
                        <a:pt x="114" y="70"/>
                        <a:pt x="90" y="88"/>
                        <a:pt x="59" y="88"/>
                      </a:cubicBezTo>
                      <a:cubicBezTo>
                        <a:pt x="58" y="88"/>
                        <a:pt x="56" y="88"/>
                        <a:pt x="54" y="88"/>
                      </a:cubicBezTo>
                      <a:cubicBezTo>
                        <a:pt x="35" y="113"/>
                        <a:pt x="35" y="113"/>
                        <a:pt x="35" y="113"/>
                      </a:cubicBezTo>
                      <a:cubicBezTo>
                        <a:pt x="49" y="105"/>
                        <a:pt x="67" y="98"/>
                        <a:pt x="84" y="98"/>
                      </a:cubicBezTo>
                      <a:cubicBezTo>
                        <a:pt x="102" y="98"/>
                        <a:pt x="120" y="106"/>
                        <a:pt x="118" y="139"/>
                      </a:cubicBezTo>
                      <a:cubicBezTo>
                        <a:pt x="84" y="143"/>
                        <a:pt x="84" y="143"/>
                        <a:pt x="84" y="143"/>
                      </a:cubicBezTo>
                      <a:cubicBezTo>
                        <a:pt x="84" y="128"/>
                        <a:pt x="77" y="125"/>
                        <a:pt x="66" y="125"/>
                      </a:cubicBezTo>
                      <a:cubicBezTo>
                        <a:pt x="53" y="125"/>
                        <a:pt x="34" y="130"/>
                        <a:pt x="18" y="139"/>
                      </a:cubicBezTo>
                      <a:cubicBezTo>
                        <a:pt x="0" y="127"/>
                        <a:pt x="0" y="127"/>
                        <a:pt x="0" y="127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15" y="72"/>
                        <a:pt x="9" y="59"/>
                        <a:pt x="11" y="45"/>
                      </a:cubicBezTo>
                      <a:cubicBezTo>
                        <a:pt x="15" y="21"/>
                        <a:pt x="40" y="0"/>
                        <a:pt x="71" y="0"/>
                      </a:cubicBezTo>
                      <a:cubicBezTo>
                        <a:pt x="78" y="0"/>
                        <a:pt x="85" y="1"/>
                        <a:pt x="91" y="3"/>
                      </a:cubicBezTo>
                      <a:cubicBezTo>
                        <a:pt x="141" y="3"/>
                        <a:pt x="141" y="3"/>
                        <a:pt x="141" y="3"/>
                      </a:cubicBezTo>
                      <a:lnTo>
                        <a:pt x="138" y="30"/>
                      </a:lnTo>
                      <a:close/>
                      <a:moveTo>
                        <a:pt x="87" y="45"/>
                      </a:moveTo>
                      <a:cubicBezTo>
                        <a:pt x="89" y="31"/>
                        <a:pt x="79" y="23"/>
                        <a:pt x="67" y="23"/>
                      </a:cubicBezTo>
                      <a:cubicBezTo>
                        <a:pt x="55" y="23"/>
                        <a:pt x="44" y="31"/>
                        <a:pt x="42" y="44"/>
                      </a:cubicBezTo>
                      <a:cubicBezTo>
                        <a:pt x="40" y="57"/>
                        <a:pt x="50" y="66"/>
                        <a:pt x="62" y="66"/>
                      </a:cubicBezTo>
                      <a:cubicBezTo>
                        <a:pt x="74" y="66"/>
                        <a:pt x="85" y="58"/>
                        <a:pt x="87" y="45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" name="Freeform 19">
                  <a:extLst>
                    <a:ext uri="{FF2B5EF4-FFF2-40B4-BE49-F238E27FC236}">
                      <a16:creationId xmlns:a16="http://schemas.microsoft.com/office/drawing/2014/main" id="{89188CD4-EAEA-4648-B69E-2C3575A7841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58853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1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8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3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" name="Rectangle 20">
                <a:extLst>
                  <a:ext uri="{FF2B5EF4-FFF2-40B4-BE49-F238E27FC236}">
                    <a16:creationId xmlns:a16="http://schemas.microsoft.com/office/drawing/2014/main" id="{3A615283-4DEA-4920-9079-D6AD8285B98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Rectangle 21">
                <a:extLst>
                  <a:ext uri="{FF2B5EF4-FFF2-40B4-BE49-F238E27FC236}">
                    <a16:creationId xmlns:a16="http://schemas.microsoft.com/office/drawing/2014/main" id="{006D26F6-58AC-45DD-BB38-540219FEAC0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Oval 22">
                <a:extLst>
                  <a:ext uri="{FF2B5EF4-FFF2-40B4-BE49-F238E27FC236}">
                    <a16:creationId xmlns:a16="http://schemas.microsoft.com/office/drawing/2014/main" id="{4E54BA74-5F69-401A-B197-E5C7BD8FD52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23">
                <a:extLst>
                  <a:ext uri="{FF2B5EF4-FFF2-40B4-BE49-F238E27FC236}">
                    <a16:creationId xmlns:a16="http://schemas.microsoft.com/office/drawing/2014/main" id="{698B886C-1E08-4932-91A0-8A6E662C8D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24">
                <a:extLst>
                  <a:ext uri="{FF2B5EF4-FFF2-40B4-BE49-F238E27FC236}">
                    <a16:creationId xmlns:a16="http://schemas.microsoft.com/office/drawing/2014/main" id="{79C3FFFE-802D-4EF3-BCE5-1D174F181F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25">
                <a:extLst>
                  <a:ext uri="{FF2B5EF4-FFF2-40B4-BE49-F238E27FC236}">
                    <a16:creationId xmlns:a16="http://schemas.microsoft.com/office/drawing/2014/main" id="{8225F425-8408-4210-BF92-8E53E8AF02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26">
                <a:extLst>
                  <a:ext uri="{FF2B5EF4-FFF2-40B4-BE49-F238E27FC236}">
                    <a16:creationId xmlns:a16="http://schemas.microsoft.com/office/drawing/2014/main" id="{59B225DA-3D2E-47F5-A3E3-DF57DC5811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0" name="Freeform 27">
              <a:extLst>
                <a:ext uri="{FF2B5EF4-FFF2-40B4-BE49-F238E27FC236}">
                  <a16:creationId xmlns:a16="http://schemas.microsoft.com/office/drawing/2014/main" id="{9FE68C1B-33CF-4D84-8C44-438CFBBC48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12009" y="2241539"/>
              <a:ext cx="3335482" cy="994073"/>
            </a:xfrm>
            <a:custGeom>
              <a:avLst/>
              <a:gdLst>
                <a:gd name="T0" fmla="*/ 785 w 3117"/>
                <a:gd name="T1" fmla="*/ 65 h 928"/>
                <a:gd name="T2" fmla="*/ 504 w 3117"/>
                <a:gd name="T3" fmla="*/ 556 h 928"/>
                <a:gd name="T4" fmla="*/ 132 w 3117"/>
                <a:gd name="T5" fmla="*/ 921 h 928"/>
                <a:gd name="T6" fmla="*/ 0 w 3117"/>
                <a:gd name="T7" fmla="*/ 777 h 928"/>
                <a:gd name="T8" fmla="*/ 231 w 3117"/>
                <a:gd name="T9" fmla="*/ 626 h 928"/>
                <a:gd name="T10" fmla="*/ 41 w 3117"/>
                <a:gd name="T11" fmla="*/ 65 h 928"/>
                <a:gd name="T12" fmla="*/ 276 w 3117"/>
                <a:gd name="T13" fmla="*/ 65 h 928"/>
                <a:gd name="T14" fmla="*/ 375 w 3117"/>
                <a:gd name="T15" fmla="*/ 419 h 928"/>
                <a:gd name="T16" fmla="*/ 563 w 3117"/>
                <a:gd name="T17" fmla="*/ 65 h 928"/>
                <a:gd name="T18" fmla="*/ 785 w 3117"/>
                <a:gd name="T19" fmla="*/ 65 h 928"/>
                <a:gd name="T20" fmla="*/ 1082 w 3117"/>
                <a:gd name="T21" fmla="*/ 162 h 928"/>
                <a:gd name="T22" fmla="*/ 890 w 3117"/>
                <a:gd name="T23" fmla="*/ 495 h 928"/>
                <a:gd name="T24" fmla="*/ 768 w 3117"/>
                <a:gd name="T25" fmla="*/ 412 h 928"/>
                <a:gd name="T26" fmla="*/ 867 w 3117"/>
                <a:gd name="T27" fmla="*/ 162 h 928"/>
                <a:gd name="T28" fmla="*/ 885 w 3117"/>
                <a:gd name="T29" fmla="*/ 67 h 928"/>
                <a:gd name="T30" fmla="*/ 1098 w 3117"/>
                <a:gd name="T31" fmla="*/ 67 h 928"/>
                <a:gd name="T32" fmla="*/ 1082 w 3117"/>
                <a:gd name="T33" fmla="*/ 162 h 928"/>
                <a:gd name="T34" fmla="*/ 1642 w 3117"/>
                <a:gd name="T35" fmla="*/ 654 h 928"/>
                <a:gd name="T36" fmla="*/ 1220 w 3117"/>
                <a:gd name="T37" fmla="*/ 654 h 928"/>
                <a:gd name="T38" fmla="*/ 1373 w 3117"/>
                <a:gd name="T39" fmla="*/ 759 h 928"/>
                <a:gd name="T40" fmla="*/ 1583 w 3117"/>
                <a:gd name="T41" fmla="*/ 707 h 928"/>
                <a:gd name="T42" fmla="*/ 1646 w 3117"/>
                <a:gd name="T43" fmla="*/ 824 h 928"/>
                <a:gd name="T44" fmla="*/ 1329 w 3117"/>
                <a:gd name="T45" fmla="*/ 928 h 928"/>
                <a:gd name="T46" fmla="*/ 1001 w 3117"/>
                <a:gd name="T47" fmla="*/ 636 h 928"/>
                <a:gd name="T48" fmla="*/ 1406 w 3117"/>
                <a:gd name="T49" fmla="*/ 260 h 928"/>
                <a:gd name="T50" fmla="*/ 1685 w 3117"/>
                <a:gd name="T51" fmla="*/ 497 h 928"/>
                <a:gd name="T52" fmla="*/ 1642 w 3117"/>
                <a:gd name="T53" fmla="*/ 654 h 928"/>
                <a:gd name="T54" fmla="*/ 1496 w 3117"/>
                <a:gd name="T55" fmla="*/ 500 h 928"/>
                <a:gd name="T56" fmla="*/ 1390 w 3117"/>
                <a:gd name="T57" fmla="*/ 407 h 928"/>
                <a:gd name="T58" fmla="*/ 1239 w 3117"/>
                <a:gd name="T59" fmla="*/ 510 h 928"/>
                <a:gd name="T60" fmla="*/ 1496 w 3117"/>
                <a:gd name="T61" fmla="*/ 510 h 928"/>
                <a:gd name="T62" fmla="*/ 1496 w 3117"/>
                <a:gd name="T63" fmla="*/ 500 h 928"/>
                <a:gd name="T64" fmla="*/ 2094 w 3117"/>
                <a:gd name="T65" fmla="*/ 0 h 928"/>
                <a:gd name="T66" fmla="*/ 1934 w 3117"/>
                <a:gd name="T67" fmla="*/ 900 h 928"/>
                <a:gd name="T68" fmla="*/ 1715 w 3117"/>
                <a:gd name="T69" fmla="*/ 900 h 928"/>
                <a:gd name="T70" fmla="*/ 1866 w 3117"/>
                <a:gd name="T71" fmla="*/ 44 h 928"/>
                <a:gd name="T72" fmla="*/ 2094 w 3117"/>
                <a:gd name="T73" fmla="*/ 0 h 928"/>
                <a:gd name="T74" fmla="*/ 2416 w 3117"/>
                <a:gd name="T75" fmla="*/ 0 h 928"/>
                <a:gd name="T76" fmla="*/ 2256 w 3117"/>
                <a:gd name="T77" fmla="*/ 900 h 928"/>
                <a:gd name="T78" fmla="*/ 2038 w 3117"/>
                <a:gd name="T79" fmla="*/ 900 h 928"/>
                <a:gd name="T80" fmla="*/ 2189 w 3117"/>
                <a:gd name="T81" fmla="*/ 44 h 928"/>
                <a:gd name="T82" fmla="*/ 2416 w 3117"/>
                <a:gd name="T83" fmla="*/ 0 h 928"/>
                <a:gd name="T84" fmla="*/ 3117 w 3117"/>
                <a:gd name="T85" fmla="*/ 552 h 928"/>
                <a:gd name="T86" fmla="*/ 2709 w 3117"/>
                <a:gd name="T87" fmla="*/ 928 h 928"/>
                <a:gd name="T88" fmla="*/ 2384 w 3117"/>
                <a:gd name="T89" fmla="*/ 633 h 928"/>
                <a:gd name="T90" fmla="*/ 2792 w 3117"/>
                <a:gd name="T91" fmla="*/ 260 h 928"/>
                <a:gd name="T92" fmla="*/ 3117 w 3117"/>
                <a:gd name="T93" fmla="*/ 552 h 928"/>
                <a:gd name="T94" fmla="*/ 2888 w 3117"/>
                <a:gd name="T95" fmla="*/ 556 h 928"/>
                <a:gd name="T96" fmla="*/ 2778 w 3117"/>
                <a:gd name="T97" fmla="*/ 421 h 928"/>
                <a:gd name="T98" fmla="*/ 2613 w 3117"/>
                <a:gd name="T99" fmla="*/ 628 h 928"/>
                <a:gd name="T100" fmla="*/ 2721 w 3117"/>
                <a:gd name="T101" fmla="*/ 764 h 928"/>
                <a:gd name="T102" fmla="*/ 2888 w 3117"/>
                <a:gd name="T103" fmla="*/ 556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17" h="928">
                  <a:moveTo>
                    <a:pt x="785" y="65"/>
                  </a:moveTo>
                  <a:cubicBezTo>
                    <a:pt x="504" y="556"/>
                    <a:pt x="504" y="556"/>
                    <a:pt x="504" y="556"/>
                  </a:cubicBezTo>
                  <a:cubicBezTo>
                    <a:pt x="398" y="742"/>
                    <a:pt x="306" y="833"/>
                    <a:pt x="132" y="921"/>
                  </a:cubicBezTo>
                  <a:cubicBezTo>
                    <a:pt x="0" y="777"/>
                    <a:pt x="0" y="777"/>
                    <a:pt x="0" y="777"/>
                  </a:cubicBezTo>
                  <a:cubicBezTo>
                    <a:pt x="80" y="744"/>
                    <a:pt x="164" y="690"/>
                    <a:pt x="231" y="626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276" y="65"/>
                    <a:pt x="276" y="65"/>
                    <a:pt x="276" y="65"/>
                  </a:cubicBezTo>
                  <a:cubicBezTo>
                    <a:pt x="375" y="419"/>
                    <a:pt x="375" y="419"/>
                    <a:pt x="375" y="419"/>
                  </a:cubicBezTo>
                  <a:cubicBezTo>
                    <a:pt x="563" y="65"/>
                    <a:pt x="563" y="65"/>
                    <a:pt x="563" y="65"/>
                  </a:cubicBezTo>
                  <a:lnTo>
                    <a:pt x="785" y="65"/>
                  </a:lnTo>
                  <a:close/>
                  <a:moveTo>
                    <a:pt x="1082" y="162"/>
                  </a:moveTo>
                  <a:cubicBezTo>
                    <a:pt x="1057" y="311"/>
                    <a:pt x="977" y="423"/>
                    <a:pt x="890" y="495"/>
                  </a:cubicBezTo>
                  <a:cubicBezTo>
                    <a:pt x="768" y="412"/>
                    <a:pt x="768" y="412"/>
                    <a:pt x="768" y="412"/>
                  </a:cubicBezTo>
                  <a:cubicBezTo>
                    <a:pt x="790" y="382"/>
                    <a:pt x="839" y="313"/>
                    <a:pt x="867" y="162"/>
                  </a:cubicBezTo>
                  <a:cubicBezTo>
                    <a:pt x="885" y="67"/>
                    <a:pt x="885" y="67"/>
                    <a:pt x="885" y="67"/>
                  </a:cubicBezTo>
                  <a:cubicBezTo>
                    <a:pt x="1098" y="67"/>
                    <a:pt x="1098" y="67"/>
                    <a:pt x="1098" y="67"/>
                  </a:cubicBezTo>
                  <a:lnTo>
                    <a:pt x="1082" y="162"/>
                  </a:lnTo>
                  <a:close/>
                  <a:moveTo>
                    <a:pt x="1642" y="654"/>
                  </a:moveTo>
                  <a:cubicBezTo>
                    <a:pt x="1220" y="654"/>
                    <a:pt x="1220" y="654"/>
                    <a:pt x="1220" y="654"/>
                  </a:cubicBezTo>
                  <a:cubicBezTo>
                    <a:pt x="1233" y="722"/>
                    <a:pt x="1279" y="759"/>
                    <a:pt x="1373" y="759"/>
                  </a:cubicBezTo>
                  <a:cubicBezTo>
                    <a:pt x="1445" y="759"/>
                    <a:pt x="1526" y="737"/>
                    <a:pt x="1583" y="707"/>
                  </a:cubicBezTo>
                  <a:cubicBezTo>
                    <a:pt x="1646" y="824"/>
                    <a:pt x="1646" y="824"/>
                    <a:pt x="1646" y="824"/>
                  </a:cubicBezTo>
                  <a:cubicBezTo>
                    <a:pt x="1566" y="882"/>
                    <a:pt x="1451" y="928"/>
                    <a:pt x="1329" y="928"/>
                  </a:cubicBezTo>
                  <a:cubicBezTo>
                    <a:pt x="1134" y="928"/>
                    <a:pt x="1001" y="812"/>
                    <a:pt x="1001" y="636"/>
                  </a:cubicBezTo>
                  <a:cubicBezTo>
                    <a:pt x="1001" y="430"/>
                    <a:pt x="1185" y="260"/>
                    <a:pt x="1406" y="260"/>
                  </a:cubicBezTo>
                  <a:cubicBezTo>
                    <a:pt x="1573" y="260"/>
                    <a:pt x="1685" y="358"/>
                    <a:pt x="1685" y="497"/>
                  </a:cubicBezTo>
                  <a:cubicBezTo>
                    <a:pt x="1685" y="560"/>
                    <a:pt x="1663" y="614"/>
                    <a:pt x="1642" y="654"/>
                  </a:cubicBezTo>
                  <a:close/>
                  <a:moveTo>
                    <a:pt x="1496" y="500"/>
                  </a:moveTo>
                  <a:cubicBezTo>
                    <a:pt x="1496" y="444"/>
                    <a:pt x="1454" y="407"/>
                    <a:pt x="1390" y="407"/>
                  </a:cubicBezTo>
                  <a:cubicBezTo>
                    <a:pt x="1323" y="407"/>
                    <a:pt x="1267" y="447"/>
                    <a:pt x="1239" y="510"/>
                  </a:cubicBezTo>
                  <a:cubicBezTo>
                    <a:pt x="1496" y="510"/>
                    <a:pt x="1496" y="510"/>
                    <a:pt x="1496" y="510"/>
                  </a:cubicBezTo>
                  <a:lnTo>
                    <a:pt x="1496" y="500"/>
                  </a:lnTo>
                  <a:close/>
                  <a:moveTo>
                    <a:pt x="2094" y="0"/>
                  </a:moveTo>
                  <a:cubicBezTo>
                    <a:pt x="1934" y="900"/>
                    <a:pt x="1934" y="900"/>
                    <a:pt x="1934" y="900"/>
                  </a:cubicBezTo>
                  <a:cubicBezTo>
                    <a:pt x="1715" y="900"/>
                    <a:pt x="1715" y="900"/>
                    <a:pt x="1715" y="900"/>
                  </a:cubicBezTo>
                  <a:cubicBezTo>
                    <a:pt x="1866" y="44"/>
                    <a:pt x="1866" y="44"/>
                    <a:pt x="1866" y="44"/>
                  </a:cubicBezTo>
                  <a:lnTo>
                    <a:pt x="2094" y="0"/>
                  </a:lnTo>
                  <a:close/>
                  <a:moveTo>
                    <a:pt x="2416" y="0"/>
                  </a:moveTo>
                  <a:cubicBezTo>
                    <a:pt x="2256" y="900"/>
                    <a:pt x="2256" y="900"/>
                    <a:pt x="2256" y="900"/>
                  </a:cubicBezTo>
                  <a:cubicBezTo>
                    <a:pt x="2038" y="900"/>
                    <a:pt x="2038" y="900"/>
                    <a:pt x="2038" y="900"/>
                  </a:cubicBezTo>
                  <a:cubicBezTo>
                    <a:pt x="2189" y="44"/>
                    <a:pt x="2189" y="44"/>
                    <a:pt x="2189" y="44"/>
                  </a:cubicBezTo>
                  <a:lnTo>
                    <a:pt x="2416" y="0"/>
                  </a:lnTo>
                  <a:close/>
                  <a:moveTo>
                    <a:pt x="3117" y="552"/>
                  </a:moveTo>
                  <a:cubicBezTo>
                    <a:pt x="3117" y="751"/>
                    <a:pt x="2943" y="928"/>
                    <a:pt x="2709" y="928"/>
                  </a:cubicBezTo>
                  <a:cubicBezTo>
                    <a:pt x="2518" y="928"/>
                    <a:pt x="2384" y="807"/>
                    <a:pt x="2384" y="633"/>
                  </a:cubicBezTo>
                  <a:cubicBezTo>
                    <a:pt x="2384" y="437"/>
                    <a:pt x="2556" y="260"/>
                    <a:pt x="2792" y="260"/>
                  </a:cubicBezTo>
                  <a:cubicBezTo>
                    <a:pt x="2986" y="260"/>
                    <a:pt x="3117" y="382"/>
                    <a:pt x="3117" y="552"/>
                  </a:cubicBezTo>
                  <a:close/>
                  <a:moveTo>
                    <a:pt x="2888" y="556"/>
                  </a:moveTo>
                  <a:cubicBezTo>
                    <a:pt x="2888" y="467"/>
                    <a:pt x="2851" y="421"/>
                    <a:pt x="2778" y="421"/>
                  </a:cubicBezTo>
                  <a:cubicBezTo>
                    <a:pt x="2679" y="421"/>
                    <a:pt x="2613" y="510"/>
                    <a:pt x="2613" y="628"/>
                  </a:cubicBezTo>
                  <a:cubicBezTo>
                    <a:pt x="2613" y="717"/>
                    <a:pt x="2650" y="764"/>
                    <a:pt x="2721" y="764"/>
                  </a:cubicBezTo>
                  <a:cubicBezTo>
                    <a:pt x="2820" y="764"/>
                    <a:pt x="2888" y="675"/>
                    <a:pt x="2888" y="5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33A17F3B-F9A1-4F45-9C93-990265FF45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0452" y="3429451"/>
            <a:ext cx="2972985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018E7DB5-3E32-4FF6-826A-E2137B5B3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1205" y="4548113"/>
            <a:ext cx="2972787" cy="415782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77737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B6C32F1-3798-4C22-A9E4-1BB7CC1F7C95}"/>
              </a:ext>
            </a:extLst>
          </p:cNvPr>
          <p:cNvGrpSpPr/>
          <p:nvPr userDrawn="1"/>
        </p:nvGrpSpPr>
        <p:grpSpPr>
          <a:xfrm>
            <a:off x="6" y="677021"/>
            <a:ext cx="11798299" cy="5784425"/>
            <a:chOff x="1" y="677021"/>
            <a:chExt cx="11798299" cy="5784424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3D1ECF9-EFC7-4370-9E19-BB602F693EB2}"/>
                </a:ext>
              </a:extLst>
            </p:cNvPr>
            <p:cNvSpPr/>
            <p:nvPr userDrawn="1"/>
          </p:nvSpPr>
          <p:spPr>
            <a:xfrm>
              <a:off x="1" y="677021"/>
              <a:ext cx="6668655" cy="5490104"/>
            </a:xfrm>
            <a:custGeom>
              <a:avLst/>
              <a:gdLst>
                <a:gd name="connsiteX0" fmla="*/ 0 w 6668655"/>
                <a:gd name="connsiteY0" fmla="*/ 0 h 5490104"/>
                <a:gd name="connsiteX1" fmla="*/ 560043 w 6668655"/>
                <a:gd name="connsiteY1" fmla="*/ 11421 h 5490104"/>
                <a:gd name="connsiteX2" fmla="*/ 6668655 w 6668655"/>
                <a:gd name="connsiteY2" fmla="*/ 2745052 h 5490104"/>
                <a:gd name="connsiteX3" fmla="*/ 560043 w 6668655"/>
                <a:gd name="connsiteY3" fmla="*/ 5478684 h 5490104"/>
                <a:gd name="connsiteX4" fmla="*/ 0 w 6668655"/>
                <a:gd name="connsiteY4" fmla="*/ 5490104 h 549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8655" h="5490104">
                  <a:moveTo>
                    <a:pt x="0" y="0"/>
                  </a:moveTo>
                  <a:lnTo>
                    <a:pt x="560043" y="11421"/>
                  </a:lnTo>
                  <a:cubicBezTo>
                    <a:pt x="3991160" y="152137"/>
                    <a:pt x="6668655" y="1322323"/>
                    <a:pt x="6668655" y="2745052"/>
                  </a:cubicBezTo>
                  <a:cubicBezTo>
                    <a:pt x="6668655" y="4167782"/>
                    <a:pt x="3991160" y="5337968"/>
                    <a:pt x="560043" y="5478684"/>
                  </a:cubicBezTo>
                  <a:lnTo>
                    <a:pt x="0" y="549010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18192FF-B8DE-4F9E-8766-C4797B78B91E}"/>
                </a:ext>
              </a:extLst>
            </p:cNvPr>
            <p:cNvGrpSpPr/>
            <p:nvPr userDrawn="1"/>
          </p:nvGrpSpPr>
          <p:grpSpPr>
            <a:xfrm>
              <a:off x="7813964" y="5310073"/>
              <a:ext cx="3984336" cy="1151372"/>
              <a:chOff x="7813964" y="5310073"/>
              <a:chExt cx="3984336" cy="1151372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E9E0ACF1-83CB-4953-9559-E674398E8FAD}"/>
                  </a:ext>
                </a:extLst>
              </p:cNvPr>
              <p:cNvGrpSpPr/>
              <p:nvPr userDrawn="1"/>
            </p:nvGrpSpPr>
            <p:grpSpPr>
              <a:xfrm>
                <a:off x="7813964" y="5788335"/>
                <a:ext cx="2358245" cy="226732"/>
                <a:chOff x="19621500" y="3297238"/>
                <a:chExt cx="3170238" cy="304801"/>
              </a:xfrm>
            </p:grpSpPr>
            <p:sp>
              <p:nvSpPr>
                <p:cNvPr id="18" name="Freeform 5">
                  <a:extLst>
                    <a:ext uri="{FF2B5EF4-FFF2-40B4-BE49-F238E27FC236}">
                      <a16:creationId xmlns:a16="http://schemas.microsoft.com/office/drawing/2014/main" id="{CE0F8FF4-3318-49EE-A53D-24C6E3B583EC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962150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" name="Freeform 6">
                  <a:extLst>
                    <a:ext uri="{FF2B5EF4-FFF2-40B4-BE49-F238E27FC236}">
                      <a16:creationId xmlns:a16="http://schemas.microsoft.com/office/drawing/2014/main" id="{D1E26059-E048-4E76-A632-F815C8DE57F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9829463" y="3370263"/>
                  <a:ext cx="190500" cy="161925"/>
                </a:xfrm>
                <a:custGeom>
                  <a:avLst/>
                  <a:gdLst>
                    <a:gd name="T0" fmla="*/ 120 w 120"/>
                    <a:gd name="T1" fmla="*/ 0 h 102"/>
                    <a:gd name="T2" fmla="*/ 62 w 120"/>
                    <a:gd name="T3" fmla="*/ 102 h 102"/>
                    <a:gd name="T4" fmla="*/ 29 w 120"/>
                    <a:gd name="T5" fmla="*/ 102 h 102"/>
                    <a:gd name="T6" fmla="*/ 0 w 120"/>
                    <a:gd name="T7" fmla="*/ 0 h 102"/>
                    <a:gd name="T8" fmla="*/ 35 w 120"/>
                    <a:gd name="T9" fmla="*/ 0 h 102"/>
                    <a:gd name="T10" fmla="*/ 52 w 120"/>
                    <a:gd name="T11" fmla="*/ 67 h 102"/>
                    <a:gd name="T12" fmla="*/ 87 w 120"/>
                    <a:gd name="T13" fmla="*/ 0 h 102"/>
                    <a:gd name="T14" fmla="*/ 120 w 120"/>
                    <a:gd name="T1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0" h="102">
                      <a:moveTo>
                        <a:pt x="120" y="0"/>
                      </a:moveTo>
                      <a:lnTo>
                        <a:pt x="62" y="102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2" y="67"/>
                      </a:lnTo>
                      <a:lnTo>
                        <a:pt x="87" y="0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" name="Freeform 7">
                  <a:extLst>
                    <a:ext uri="{FF2B5EF4-FFF2-40B4-BE49-F238E27FC236}">
                      <a16:creationId xmlns:a16="http://schemas.microsoft.com/office/drawing/2014/main" id="{CDC3F5C6-DC61-4357-911D-C0D2D972F45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0013613" y="3363913"/>
                  <a:ext cx="188913" cy="176213"/>
                </a:xfrm>
                <a:custGeom>
                  <a:avLst/>
                  <a:gdLst>
                    <a:gd name="T0" fmla="*/ 106 w 114"/>
                    <a:gd name="T1" fmla="*/ 88 h 106"/>
                    <a:gd name="T2" fmla="*/ 54 w 114"/>
                    <a:gd name="T3" fmla="*/ 106 h 106"/>
                    <a:gd name="T4" fmla="*/ 4 w 114"/>
                    <a:gd name="T5" fmla="*/ 55 h 106"/>
                    <a:gd name="T6" fmla="*/ 69 w 114"/>
                    <a:gd name="T7" fmla="*/ 0 h 106"/>
                    <a:gd name="T8" fmla="*/ 111 w 114"/>
                    <a:gd name="T9" fmla="*/ 44 h 106"/>
                    <a:gd name="T10" fmla="*/ 105 w 114"/>
                    <a:gd name="T11" fmla="*/ 61 h 106"/>
                    <a:gd name="T12" fmla="*/ 35 w 114"/>
                    <a:gd name="T13" fmla="*/ 61 h 106"/>
                    <a:gd name="T14" fmla="*/ 64 w 114"/>
                    <a:gd name="T15" fmla="*/ 81 h 106"/>
                    <a:gd name="T16" fmla="*/ 97 w 114"/>
                    <a:gd name="T17" fmla="*/ 72 h 106"/>
                    <a:gd name="T18" fmla="*/ 106 w 114"/>
                    <a:gd name="T19" fmla="*/ 88 h 106"/>
                    <a:gd name="T20" fmla="*/ 38 w 114"/>
                    <a:gd name="T21" fmla="*/ 40 h 106"/>
                    <a:gd name="T22" fmla="*/ 83 w 114"/>
                    <a:gd name="T23" fmla="*/ 40 h 106"/>
                    <a:gd name="T24" fmla="*/ 66 w 114"/>
                    <a:gd name="T25" fmla="*/ 22 h 106"/>
                    <a:gd name="T26" fmla="*/ 38 w 114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4" y="18"/>
                        <a:pt x="111" y="44"/>
                      </a:cubicBezTo>
                      <a:cubicBezTo>
                        <a:pt x="110" y="51"/>
                        <a:pt x="107" y="57"/>
                        <a:pt x="105" y="61"/>
                      </a:cubicBezTo>
                      <a:cubicBezTo>
                        <a:pt x="35" y="61"/>
                        <a:pt x="35" y="61"/>
                        <a:pt x="35" y="61"/>
                      </a:cubicBezTo>
                      <a:cubicBezTo>
                        <a:pt x="37" y="74"/>
                        <a:pt x="47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3" y="40"/>
                        <a:pt x="83" y="40"/>
                        <a:pt x="83" y="40"/>
                      </a:cubicBezTo>
                      <a:cubicBezTo>
                        <a:pt x="84" y="29"/>
                        <a:pt x="77" y="22"/>
                        <a:pt x="66" y="22"/>
                      </a:cubicBezTo>
                      <a:cubicBezTo>
                        <a:pt x="55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" name="Freeform 8">
                  <a:extLst>
                    <a:ext uri="{FF2B5EF4-FFF2-40B4-BE49-F238E27FC236}">
                      <a16:creationId xmlns:a16="http://schemas.microsoft.com/office/drawing/2014/main" id="{B401902C-6257-49E1-AF9C-456C1ACC814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219988" y="3365501"/>
                  <a:ext cx="146050" cy="166688"/>
                </a:xfrm>
                <a:custGeom>
                  <a:avLst/>
                  <a:gdLst>
                    <a:gd name="T0" fmla="*/ 89 w 89"/>
                    <a:gd name="T1" fmla="*/ 2 h 100"/>
                    <a:gd name="T2" fmla="*/ 84 w 89"/>
                    <a:gd name="T3" fmla="*/ 32 h 100"/>
                    <a:gd name="T4" fmla="*/ 70 w 89"/>
                    <a:gd name="T5" fmla="*/ 30 h 100"/>
                    <a:gd name="T6" fmla="*/ 40 w 89"/>
                    <a:gd name="T7" fmla="*/ 46 h 100"/>
                    <a:gd name="T8" fmla="*/ 32 w 89"/>
                    <a:gd name="T9" fmla="*/ 100 h 100"/>
                    <a:gd name="T10" fmla="*/ 0 w 89"/>
                    <a:gd name="T11" fmla="*/ 100 h 100"/>
                    <a:gd name="T12" fmla="*/ 14 w 89"/>
                    <a:gd name="T13" fmla="*/ 6 h 100"/>
                    <a:gd name="T14" fmla="*/ 45 w 89"/>
                    <a:gd name="T15" fmla="*/ 0 h 100"/>
                    <a:gd name="T16" fmla="*/ 42 w 89"/>
                    <a:gd name="T17" fmla="*/ 22 h 100"/>
                    <a:gd name="T18" fmla="*/ 77 w 89"/>
                    <a:gd name="T19" fmla="*/ 0 h 100"/>
                    <a:gd name="T20" fmla="*/ 89 w 89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9" h="100">
                      <a:moveTo>
                        <a:pt x="89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5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9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" name="Freeform 9">
                  <a:extLst>
                    <a:ext uri="{FF2B5EF4-FFF2-40B4-BE49-F238E27FC236}">
                      <a16:creationId xmlns:a16="http://schemas.microsoft.com/office/drawing/2014/main" id="{C2673B5E-8F1C-457F-B0CA-EC3E1DB7718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369213" y="3370263"/>
                  <a:ext cx="187325" cy="228600"/>
                </a:xfrm>
                <a:custGeom>
                  <a:avLst/>
                  <a:gdLst>
                    <a:gd name="T0" fmla="*/ 118 w 118"/>
                    <a:gd name="T1" fmla="*/ 0 h 144"/>
                    <a:gd name="T2" fmla="*/ 38 w 118"/>
                    <a:gd name="T3" fmla="*/ 144 h 144"/>
                    <a:gd name="T4" fmla="*/ 5 w 118"/>
                    <a:gd name="T5" fmla="*/ 144 h 144"/>
                    <a:gd name="T6" fmla="*/ 31 w 118"/>
                    <a:gd name="T7" fmla="*/ 102 h 144"/>
                    <a:gd name="T8" fmla="*/ 0 w 118"/>
                    <a:gd name="T9" fmla="*/ 0 h 144"/>
                    <a:gd name="T10" fmla="*/ 37 w 118"/>
                    <a:gd name="T11" fmla="*/ 0 h 144"/>
                    <a:gd name="T12" fmla="*/ 53 w 118"/>
                    <a:gd name="T13" fmla="*/ 64 h 144"/>
                    <a:gd name="T14" fmla="*/ 86 w 118"/>
                    <a:gd name="T15" fmla="*/ 0 h 144"/>
                    <a:gd name="T16" fmla="*/ 118 w 118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8" h="144">
                      <a:moveTo>
                        <a:pt x="118" y="0"/>
                      </a:moveTo>
                      <a:lnTo>
                        <a:pt x="38" y="144"/>
                      </a:lnTo>
                      <a:lnTo>
                        <a:pt x="5" y="144"/>
                      </a:lnTo>
                      <a:lnTo>
                        <a:pt x="31" y="102"/>
                      </a:lnTo>
                      <a:lnTo>
                        <a:pt x="0" y="0"/>
                      </a:lnTo>
                      <a:lnTo>
                        <a:pt x="37" y="0"/>
                      </a:lnTo>
                      <a:lnTo>
                        <a:pt x="53" y="64"/>
                      </a:lnTo>
                      <a:lnTo>
                        <a:pt x="86" y="0"/>
                      </a:lnTo>
                      <a:lnTo>
                        <a:pt x="11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" name="Freeform 10">
                  <a:extLst>
                    <a:ext uri="{FF2B5EF4-FFF2-40B4-BE49-F238E27FC236}">
                      <a16:creationId xmlns:a16="http://schemas.microsoft.com/office/drawing/2014/main" id="{3A11E9B1-3686-4CF7-97F7-50CA2499CF5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561300" y="3370263"/>
                  <a:ext cx="266700" cy="161925"/>
                </a:xfrm>
                <a:custGeom>
                  <a:avLst/>
                  <a:gdLst>
                    <a:gd name="T0" fmla="*/ 168 w 168"/>
                    <a:gd name="T1" fmla="*/ 0 h 102"/>
                    <a:gd name="T2" fmla="*/ 119 w 168"/>
                    <a:gd name="T3" fmla="*/ 102 h 102"/>
                    <a:gd name="T4" fmla="*/ 88 w 168"/>
                    <a:gd name="T5" fmla="*/ 102 h 102"/>
                    <a:gd name="T6" fmla="*/ 76 w 168"/>
                    <a:gd name="T7" fmla="*/ 45 h 102"/>
                    <a:gd name="T8" fmla="*/ 52 w 168"/>
                    <a:gd name="T9" fmla="*/ 102 h 102"/>
                    <a:gd name="T10" fmla="*/ 20 w 168"/>
                    <a:gd name="T11" fmla="*/ 102 h 102"/>
                    <a:gd name="T12" fmla="*/ 0 w 168"/>
                    <a:gd name="T13" fmla="*/ 0 h 102"/>
                    <a:gd name="T14" fmla="*/ 34 w 168"/>
                    <a:gd name="T15" fmla="*/ 0 h 102"/>
                    <a:gd name="T16" fmla="*/ 43 w 168"/>
                    <a:gd name="T17" fmla="*/ 67 h 102"/>
                    <a:gd name="T18" fmla="*/ 70 w 168"/>
                    <a:gd name="T19" fmla="*/ 0 h 102"/>
                    <a:gd name="T20" fmla="*/ 100 w 168"/>
                    <a:gd name="T21" fmla="*/ 0 h 102"/>
                    <a:gd name="T22" fmla="*/ 111 w 168"/>
                    <a:gd name="T23" fmla="*/ 67 h 102"/>
                    <a:gd name="T24" fmla="*/ 137 w 168"/>
                    <a:gd name="T25" fmla="*/ 0 h 102"/>
                    <a:gd name="T26" fmla="*/ 168 w 168"/>
                    <a:gd name="T2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102">
                      <a:moveTo>
                        <a:pt x="168" y="0"/>
                      </a:moveTo>
                      <a:lnTo>
                        <a:pt x="119" y="102"/>
                      </a:lnTo>
                      <a:lnTo>
                        <a:pt x="88" y="102"/>
                      </a:lnTo>
                      <a:lnTo>
                        <a:pt x="76" y="45"/>
                      </a:lnTo>
                      <a:lnTo>
                        <a:pt x="52" y="102"/>
                      </a:lnTo>
                      <a:lnTo>
                        <a:pt x="20" y="102"/>
                      </a:ln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43" y="67"/>
                      </a:lnTo>
                      <a:lnTo>
                        <a:pt x="70" y="0"/>
                      </a:lnTo>
                      <a:lnTo>
                        <a:pt x="100" y="0"/>
                      </a:lnTo>
                      <a:lnTo>
                        <a:pt x="111" y="67"/>
                      </a:lnTo>
                      <a:lnTo>
                        <a:pt x="137" y="0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" name="Freeform 11">
                  <a:extLst>
                    <a:ext uri="{FF2B5EF4-FFF2-40B4-BE49-F238E27FC236}">
                      <a16:creationId xmlns:a16="http://schemas.microsoft.com/office/drawing/2014/main" id="{513B4A26-C665-4F5A-A349-CD62D34B5E6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0831175" y="3297238"/>
                  <a:ext cx="192088" cy="234950"/>
                </a:xfrm>
                <a:custGeom>
                  <a:avLst/>
                  <a:gdLst>
                    <a:gd name="T0" fmla="*/ 112 w 116"/>
                    <a:gd name="T1" fmla="*/ 84 h 142"/>
                    <a:gd name="T2" fmla="*/ 103 w 116"/>
                    <a:gd name="T3" fmla="*/ 142 h 142"/>
                    <a:gd name="T4" fmla="*/ 71 w 116"/>
                    <a:gd name="T5" fmla="*/ 142 h 142"/>
                    <a:gd name="T6" fmla="*/ 78 w 116"/>
                    <a:gd name="T7" fmla="*/ 94 h 142"/>
                    <a:gd name="T8" fmla="*/ 64 w 116"/>
                    <a:gd name="T9" fmla="*/ 69 h 142"/>
                    <a:gd name="T10" fmla="*/ 41 w 116"/>
                    <a:gd name="T11" fmla="*/ 81 h 142"/>
                    <a:gd name="T12" fmla="*/ 32 w 116"/>
                    <a:gd name="T13" fmla="*/ 142 h 142"/>
                    <a:gd name="T14" fmla="*/ 0 w 116"/>
                    <a:gd name="T15" fmla="*/ 142 h 142"/>
                    <a:gd name="T16" fmla="*/ 19 w 116"/>
                    <a:gd name="T17" fmla="*/ 6 h 142"/>
                    <a:gd name="T18" fmla="*/ 52 w 116"/>
                    <a:gd name="T19" fmla="*/ 0 h 142"/>
                    <a:gd name="T20" fmla="*/ 44 w 116"/>
                    <a:gd name="T21" fmla="*/ 57 h 142"/>
                    <a:gd name="T22" fmla="*/ 81 w 116"/>
                    <a:gd name="T23" fmla="*/ 42 h 142"/>
                    <a:gd name="T24" fmla="*/ 112 w 116"/>
                    <a:gd name="T25" fmla="*/ 84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6" h="142">
                      <a:moveTo>
                        <a:pt x="112" y="84"/>
                      </a:moveTo>
                      <a:cubicBezTo>
                        <a:pt x="103" y="142"/>
                        <a:pt x="103" y="142"/>
                        <a:pt x="103" y="142"/>
                      </a:cubicBezTo>
                      <a:cubicBezTo>
                        <a:pt x="71" y="142"/>
                        <a:pt x="71" y="142"/>
                        <a:pt x="71" y="142"/>
                      </a:cubicBezTo>
                      <a:cubicBezTo>
                        <a:pt x="78" y="94"/>
                        <a:pt x="78" y="94"/>
                        <a:pt x="78" y="94"/>
                      </a:cubicBezTo>
                      <a:cubicBezTo>
                        <a:pt x="80" y="78"/>
                        <a:pt x="76" y="69"/>
                        <a:pt x="64" y="69"/>
                      </a:cubicBezTo>
                      <a:cubicBezTo>
                        <a:pt x="56" y="69"/>
                        <a:pt x="47" y="74"/>
                        <a:pt x="41" y="81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44" y="57"/>
                        <a:pt x="44" y="57"/>
                        <a:pt x="44" y="57"/>
                      </a:cubicBezTo>
                      <a:cubicBezTo>
                        <a:pt x="54" y="47"/>
                        <a:pt x="68" y="42"/>
                        <a:pt x="81" y="42"/>
                      </a:cubicBezTo>
                      <a:cubicBezTo>
                        <a:pt x="101" y="42"/>
                        <a:pt x="116" y="56"/>
                        <a:pt x="112" y="8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" name="Freeform 12">
                  <a:extLst>
                    <a:ext uri="{FF2B5EF4-FFF2-40B4-BE49-F238E27FC236}">
                      <a16:creationId xmlns:a16="http://schemas.microsoft.com/office/drawing/2014/main" id="{9DF60469-FDD0-43E0-B2FC-5BA3A2EEABA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037550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5 w 115"/>
                    <a:gd name="T3" fmla="*/ 106 h 106"/>
                    <a:gd name="T4" fmla="*/ 5 w 115"/>
                    <a:gd name="T5" fmla="*/ 55 h 106"/>
                    <a:gd name="T6" fmla="*/ 70 w 115"/>
                    <a:gd name="T7" fmla="*/ 0 h 106"/>
                    <a:gd name="T8" fmla="*/ 111 w 115"/>
                    <a:gd name="T9" fmla="*/ 44 h 106"/>
                    <a:gd name="T10" fmla="*/ 106 w 115"/>
                    <a:gd name="T11" fmla="*/ 61 h 106"/>
                    <a:gd name="T12" fmla="*/ 36 w 115"/>
                    <a:gd name="T13" fmla="*/ 61 h 106"/>
                    <a:gd name="T14" fmla="*/ 65 w 115"/>
                    <a:gd name="T15" fmla="*/ 81 h 106"/>
                    <a:gd name="T16" fmla="*/ 98 w 115"/>
                    <a:gd name="T17" fmla="*/ 72 h 106"/>
                    <a:gd name="T18" fmla="*/ 106 w 115"/>
                    <a:gd name="T19" fmla="*/ 88 h 106"/>
                    <a:gd name="T20" fmla="*/ 39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9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4" y="97"/>
                        <a:pt x="76" y="106"/>
                        <a:pt x="55" y="106"/>
                      </a:cubicBezTo>
                      <a:cubicBezTo>
                        <a:pt x="21" y="106"/>
                        <a:pt x="0" y="86"/>
                        <a:pt x="5" y="55"/>
                      </a:cubicBez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6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5" y="81"/>
                      </a:cubicBezTo>
                      <a:cubicBezTo>
                        <a:pt x="76" y="81"/>
                        <a:pt x="88" y="77"/>
                        <a:pt x="98" y="72"/>
                      </a:cubicBezTo>
                      <a:lnTo>
                        <a:pt x="106" y="88"/>
                      </a:lnTo>
                      <a:close/>
                      <a:moveTo>
                        <a:pt x="39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9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Freeform 13">
                  <a:extLst>
                    <a:ext uri="{FF2B5EF4-FFF2-40B4-BE49-F238E27FC236}">
                      <a16:creationId xmlns:a16="http://schemas.microsoft.com/office/drawing/2014/main" id="{E982B984-D04B-45AF-8231-E1F1EFC6F44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245513" y="3365501"/>
                  <a:ext cx="144463" cy="166688"/>
                </a:xfrm>
                <a:custGeom>
                  <a:avLst/>
                  <a:gdLst>
                    <a:gd name="T0" fmla="*/ 88 w 88"/>
                    <a:gd name="T1" fmla="*/ 2 h 100"/>
                    <a:gd name="T2" fmla="*/ 84 w 88"/>
                    <a:gd name="T3" fmla="*/ 32 h 100"/>
                    <a:gd name="T4" fmla="*/ 70 w 88"/>
                    <a:gd name="T5" fmla="*/ 30 h 100"/>
                    <a:gd name="T6" fmla="*/ 40 w 88"/>
                    <a:gd name="T7" fmla="*/ 46 h 100"/>
                    <a:gd name="T8" fmla="*/ 32 w 88"/>
                    <a:gd name="T9" fmla="*/ 100 h 100"/>
                    <a:gd name="T10" fmla="*/ 0 w 88"/>
                    <a:gd name="T11" fmla="*/ 100 h 100"/>
                    <a:gd name="T12" fmla="*/ 13 w 88"/>
                    <a:gd name="T13" fmla="*/ 6 h 100"/>
                    <a:gd name="T14" fmla="*/ 45 w 88"/>
                    <a:gd name="T15" fmla="*/ 0 h 100"/>
                    <a:gd name="T16" fmla="*/ 42 w 88"/>
                    <a:gd name="T17" fmla="*/ 22 h 100"/>
                    <a:gd name="T18" fmla="*/ 77 w 88"/>
                    <a:gd name="T19" fmla="*/ 0 h 100"/>
                    <a:gd name="T20" fmla="*/ 88 w 88"/>
                    <a:gd name="T21" fmla="*/ 2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8" h="100">
                      <a:moveTo>
                        <a:pt x="88" y="2"/>
                      </a:moveTo>
                      <a:cubicBezTo>
                        <a:pt x="84" y="32"/>
                        <a:pt x="84" y="32"/>
                        <a:pt x="84" y="32"/>
                      </a:cubicBezTo>
                      <a:cubicBezTo>
                        <a:pt x="80" y="31"/>
                        <a:pt x="74" y="30"/>
                        <a:pt x="70" y="30"/>
                      </a:cubicBezTo>
                      <a:cubicBezTo>
                        <a:pt x="56" y="30"/>
                        <a:pt x="47" y="37"/>
                        <a:pt x="40" y="46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52" y="8"/>
                        <a:pt x="65" y="0"/>
                        <a:pt x="77" y="0"/>
                      </a:cubicBezTo>
                      <a:cubicBezTo>
                        <a:pt x="80" y="0"/>
                        <a:pt x="85" y="1"/>
                        <a:pt x="88" y="2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" name="Freeform 14">
                  <a:extLst>
                    <a:ext uri="{FF2B5EF4-FFF2-40B4-BE49-F238E27FC236}">
                      <a16:creationId xmlns:a16="http://schemas.microsoft.com/office/drawing/2014/main" id="{EDB97A8A-B6C2-45DC-B343-C00CEAF0581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389975" y="3363913"/>
                  <a:ext cx="190500" cy="176213"/>
                </a:xfrm>
                <a:custGeom>
                  <a:avLst/>
                  <a:gdLst>
                    <a:gd name="T0" fmla="*/ 106 w 115"/>
                    <a:gd name="T1" fmla="*/ 88 h 106"/>
                    <a:gd name="T2" fmla="*/ 54 w 115"/>
                    <a:gd name="T3" fmla="*/ 106 h 106"/>
                    <a:gd name="T4" fmla="*/ 4 w 115"/>
                    <a:gd name="T5" fmla="*/ 55 h 106"/>
                    <a:gd name="T6" fmla="*/ 69 w 115"/>
                    <a:gd name="T7" fmla="*/ 0 h 106"/>
                    <a:gd name="T8" fmla="*/ 111 w 115"/>
                    <a:gd name="T9" fmla="*/ 44 h 106"/>
                    <a:gd name="T10" fmla="*/ 105 w 115"/>
                    <a:gd name="T11" fmla="*/ 61 h 106"/>
                    <a:gd name="T12" fmla="*/ 36 w 115"/>
                    <a:gd name="T13" fmla="*/ 61 h 106"/>
                    <a:gd name="T14" fmla="*/ 64 w 115"/>
                    <a:gd name="T15" fmla="*/ 81 h 106"/>
                    <a:gd name="T16" fmla="*/ 97 w 115"/>
                    <a:gd name="T17" fmla="*/ 72 h 106"/>
                    <a:gd name="T18" fmla="*/ 106 w 115"/>
                    <a:gd name="T19" fmla="*/ 88 h 106"/>
                    <a:gd name="T20" fmla="*/ 38 w 115"/>
                    <a:gd name="T21" fmla="*/ 40 h 106"/>
                    <a:gd name="T22" fmla="*/ 84 w 115"/>
                    <a:gd name="T23" fmla="*/ 40 h 106"/>
                    <a:gd name="T24" fmla="*/ 66 w 115"/>
                    <a:gd name="T25" fmla="*/ 22 h 106"/>
                    <a:gd name="T26" fmla="*/ 38 w 115"/>
                    <a:gd name="T27" fmla="*/ 4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106">
                      <a:moveTo>
                        <a:pt x="106" y="88"/>
                      </a:moveTo>
                      <a:cubicBezTo>
                        <a:pt x="93" y="97"/>
                        <a:pt x="75" y="106"/>
                        <a:pt x="54" y="106"/>
                      </a:cubicBezTo>
                      <a:cubicBezTo>
                        <a:pt x="20" y="106"/>
                        <a:pt x="0" y="86"/>
                        <a:pt x="4" y="55"/>
                      </a:cubicBezTo>
                      <a:cubicBezTo>
                        <a:pt x="8" y="24"/>
                        <a:pt x="36" y="0"/>
                        <a:pt x="69" y="0"/>
                      </a:cubicBezTo>
                      <a:cubicBezTo>
                        <a:pt x="98" y="0"/>
                        <a:pt x="115" y="18"/>
                        <a:pt x="111" y="44"/>
                      </a:cubicBezTo>
                      <a:cubicBezTo>
                        <a:pt x="110" y="51"/>
                        <a:pt x="108" y="57"/>
                        <a:pt x="105" y="61"/>
                      </a:cubicBezTo>
                      <a:cubicBezTo>
                        <a:pt x="36" y="61"/>
                        <a:pt x="36" y="61"/>
                        <a:pt x="36" y="61"/>
                      </a:cubicBezTo>
                      <a:cubicBezTo>
                        <a:pt x="38" y="74"/>
                        <a:pt x="48" y="81"/>
                        <a:pt x="64" y="81"/>
                      </a:cubicBezTo>
                      <a:cubicBezTo>
                        <a:pt x="76" y="81"/>
                        <a:pt x="87" y="77"/>
                        <a:pt x="97" y="72"/>
                      </a:cubicBezTo>
                      <a:lnTo>
                        <a:pt x="106" y="88"/>
                      </a:lnTo>
                      <a:close/>
                      <a:moveTo>
                        <a:pt x="38" y="40"/>
                      </a:moveTo>
                      <a:cubicBezTo>
                        <a:pt x="84" y="40"/>
                        <a:pt x="84" y="40"/>
                        <a:pt x="84" y="40"/>
                      </a:cubicBezTo>
                      <a:cubicBezTo>
                        <a:pt x="84" y="29"/>
                        <a:pt x="78" y="22"/>
                        <a:pt x="66" y="22"/>
                      </a:cubicBezTo>
                      <a:cubicBezTo>
                        <a:pt x="56" y="22"/>
                        <a:pt x="44" y="28"/>
                        <a:pt x="38" y="40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" name="Freeform 15">
                  <a:extLst>
                    <a:ext uri="{FF2B5EF4-FFF2-40B4-BE49-F238E27FC236}">
                      <a16:creationId xmlns:a16="http://schemas.microsoft.com/office/drawing/2014/main" id="{1393A8D7-04DD-40D0-B668-DE6B8E4C721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1678900" y="3370263"/>
                  <a:ext cx="184150" cy="228600"/>
                </a:xfrm>
                <a:custGeom>
                  <a:avLst/>
                  <a:gdLst>
                    <a:gd name="T0" fmla="*/ 116 w 116"/>
                    <a:gd name="T1" fmla="*/ 0 h 144"/>
                    <a:gd name="T2" fmla="*/ 36 w 116"/>
                    <a:gd name="T3" fmla="*/ 144 h 144"/>
                    <a:gd name="T4" fmla="*/ 4 w 116"/>
                    <a:gd name="T5" fmla="*/ 144 h 144"/>
                    <a:gd name="T6" fmla="*/ 29 w 116"/>
                    <a:gd name="T7" fmla="*/ 102 h 144"/>
                    <a:gd name="T8" fmla="*/ 0 w 116"/>
                    <a:gd name="T9" fmla="*/ 0 h 144"/>
                    <a:gd name="T10" fmla="*/ 35 w 116"/>
                    <a:gd name="T11" fmla="*/ 0 h 144"/>
                    <a:gd name="T12" fmla="*/ 51 w 116"/>
                    <a:gd name="T13" fmla="*/ 64 h 144"/>
                    <a:gd name="T14" fmla="*/ 84 w 116"/>
                    <a:gd name="T15" fmla="*/ 0 h 144"/>
                    <a:gd name="T16" fmla="*/ 116 w 116"/>
                    <a:gd name="T17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144">
                      <a:moveTo>
                        <a:pt x="116" y="0"/>
                      </a:moveTo>
                      <a:lnTo>
                        <a:pt x="36" y="144"/>
                      </a:lnTo>
                      <a:lnTo>
                        <a:pt x="4" y="144"/>
                      </a:lnTo>
                      <a:lnTo>
                        <a:pt x="29" y="102"/>
                      </a:lnTo>
                      <a:lnTo>
                        <a:pt x="0" y="0"/>
                      </a:lnTo>
                      <a:lnTo>
                        <a:pt x="35" y="0"/>
                      </a:lnTo>
                      <a:lnTo>
                        <a:pt x="51" y="64"/>
                      </a:lnTo>
                      <a:lnTo>
                        <a:pt x="84" y="0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" name="Freeform 16">
                  <a:extLst>
                    <a:ext uri="{FF2B5EF4-FFF2-40B4-BE49-F238E27FC236}">
                      <a16:creationId xmlns:a16="http://schemas.microsoft.com/office/drawing/2014/main" id="{7B9A6DAE-0525-493E-B930-1596CC37E29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185828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2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9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4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17">
                  <a:extLst>
                    <a:ext uri="{FF2B5EF4-FFF2-40B4-BE49-F238E27FC236}">
                      <a16:creationId xmlns:a16="http://schemas.microsoft.com/office/drawing/2014/main" id="{BED10BBD-66EE-4611-B4D6-D3669E33653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2078950" y="3365501"/>
                  <a:ext cx="190500" cy="171450"/>
                </a:xfrm>
                <a:custGeom>
                  <a:avLst/>
                  <a:gdLst>
                    <a:gd name="T0" fmla="*/ 115 w 115"/>
                    <a:gd name="T1" fmla="*/ 0 h 103"/>
                    <a:gd name="T2" fmla="*/ 101 w 115"/>
                    <a:gd name="T3" fmla="*/ 100 h 103"/>
                    <a:gd name="T4" fmla="*/ 70 w 115"/>
                    <a:gd name="T5" fmla="*/ 100 h 103"/>
                    <a:gd name="T6" fmla="*/ 72 w 115"/>
                    <a:gd name="T7" fmla="*/ 88 h 103"/>
                    <a:gd name="T8" fmla="*/ 35 w 115"/>
                    <a:gd name="T9" fmla="*/ 103 h 103"/>
                    <a:gd name="T10" fmla="*/ 4 w 115"/>
                    <a:gd name="T11" fmla="*/ 61 h 103"/>
                    <a:gd name="T12" fmla="*/ 12 w 115"/>
                    <a:gd name="T13" fmla="*/ 6 h 103"/>
                    <a:gd name="T14" fmla="*/ 45 w 115"/>
                    <a:gd name="T15" fmla="*/ 0 h 103"/>
                    <a:gd name="T16" fmla="*/ 38 w 115"/>
                    <a:gd name="T17" fmla="*/ 51 h 103"/>
                    <a:gd name="T18" fmla="*/ 51 w 115"/>
                    <a:gd name="T19" fmla="*/ 77 h 103"/>
                    <a:gd name="T20" fmla="*/ 74 w 115"/>
                    <a:gd name="T21" fmla="*/ 66 h 103"/>
                    <a:gd name="T22" fmla="*/ 82 w 115"/>
                    <a:gd name="T23" fmla="*/ 6 h 103"/>
                    <a:gd name="T24" fmla="*/ 115 w 115"/>
                    <a:gd name="T25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" h="103">
                      <a:moveTo>
                        <a:pt x="115" y="0"/>
                      </a:moveTo>
                      <a:cubicBezTo>
                        <a:pt x="101" y="100"/>
                        <a:pt x="101" y="100"/>
                        <a:pt x="101" y="100"/>
                      </a:cubicBezTo>
                      <a:cubicBezTo>
                        <a:pt x="70" y="100"/>
                        <a:pt x="70" y="100"/>
                        <a:pt x="70" y="100"/>
                      </a:cubicBezTo>
                      <a:cubicBezTo>
                        <a:pt x="72" y="88"/>
                        <a:pt x="72" y="88"/>
                        <a:pt x="72" y="88"/>
                      </a:cubicBezTo>
                      <a:cubicBezTo>
                        <a:pt x="62" y="98"/>
                        <a:pt x="48" y="103"/>
                        <a:pt x="35" y="103"/>
                      </a:cubicBezTo>
                      <a:cubicBezTo>
                        <a:pt x="14" y="103"/>
                        <a:pt x="0" y="89"/>
                        <a:pt x="4" y="61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38" y="51"/>
                        <a:pt x="38" y="51"/>
                        <a:pt x="38" y="51"/>
                      </a:cubicBezTo>
                      <a:cubicBezTo>
                        <a:pt x="35" y="68"/>
                        <a:pt x="40" y="77"/>
                        <a:pt x="51" y="77"/>
                      </a:cubicBezTo>
                      <a:cubicBezTo>
                        <a:pt x="59" y="77"/>
                        <a:pt x="67" y="73"/>
                        <a:pt x="74" y="66"/>
                      </a:cubicBezTo>
                      <a:cubicBezTo>
                        <a:pt x="82" y="6"/>
                        <a:pt x="82" y="6"/>
                        <a:pt x="82" y="6"/>
                      </a:cubicBezTo>
                      <a:lnTo>
                        <a:pt x="115" y="0"/>
                      </a:ln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" name="Freeform 18">
                  <a:extLst>
                    <a:ext uri="{FF2B5EF4-FFF2-40B4-BE49-F238E27FC236}">
                      <a16:creationId xmlns:a16="http://schemas.microsoft.com/office/drawing/2014/main" id="{649EFB6C-9CE8-4096-B95F-82A3FF190ED5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353588" y="3365501"/>
                  <a:ext cx="233363" cy="236538"/>
                </a:xfrm>
                <a:custGeom>
                  <a:avLst/>
                  <a:gdLst>
                    <a:gd name="T0" fmla="*/ 138 w 141"/>
                    <a:gd name="T1" fmla="*/ 30 h 143"/>
                    <a:gd name="T2" fmla="*/ 114 w 141"/>
                    <a:gd name="T3" fmla="*/ 29 h 143"/>
                    <a:gd name="T4" fmla="*/ 117 w 141"/>
                    <a:gd name="T5" fmla="*/ 47 h 143"/>
                    <a:gd name="T6" fmla="*/ 59 w 141"/>
                    <a:gd name="T7" fmla="*/ 88 h 143"/>
                    <a:gd name="T8" fmla="*/ 54 w 141"/>
                    <a:gd name="T9" fmla="*/ 88 h 143"/>
                    <a:gd name="T10" fmla="*/ 35 w 141"/>
                    <a:gd name="T11" fmla="*/ 113 h 143"/>
                    <a:gd name="T12" fmla="*/ 84 w 141"/>
                    <a:gd name="T13" fmla="*/ 98 h 143"/>
                    <a:gd name="T14" fmla="*/ 118 w 141"/>
                    <a:gd name="T15" fmla="*/ 139 h 143"/>
                    <a:gd name="T16" fmla="*/ 84 w 141"/>
                    <a:gd name="T17" fmla="*/ 143 h 143"/>
                    <a:gd name="T18" fmla="*/ 66 w 141"/>
                    <a:gd name="T19" fmla="*/ 125 h 143"/>
                    <a:gd name="T20" fmla="*/ 18 w 141"/>
                    <a:gd name="T21" fmla="*/ 139 h 143"/>
                    <a:gd name="T22" fmla="*/ 0 w 141"/>
                    <a:gd name="T23" fmla="*/ 127 h 143"/>
                    <a:gd name="T24" fmla="*/ 27 w 141"/>
                    <a:gd name="T25" fmla="*/ 79 h 143"/>
                    <a:gd name="T26" fmla="*/ 11 w 141"/>
                    <a:gd name="T27" fmla="*/ 45 h 143"/>
                    <a:gd name="T28" fmla="*/ 71 w 141"/>
                    <a:gd name="T29" fmla="*/ 0 h 143"/>
                    <a:gd name="T30" fmla="*/ 91 w 141"/>
                    <a:gd name="T31" fmla="*/ 3 h 143"/>
                    <a:gd name="T32" fmla="*/ 141 w 141"/>
                    <a:gd name="T33" fmla="*/ 3 h 143"/>
                    <a:gd name="T34" fmla="*/ 138 w 141"/>
                    <a:gd name="T35" fmla="*/ 30 h 143"/>
                    <a:gd name="T36" fmla="*/ 87 w 141"/>
                    <a:gd name="T37" fmla="*/ 45 h 143"/>
                    <a:gd name="T38" fmla="*/ 67 w 141"/>
                    <a:gd name="T39" fmla="*/ 23 h 143"/>
                    <a:gd name="T40" fmla="*/ 42 w 141"/>
                    <a:gd name="T41" fmla="*/ 44 h 143"/>
                    <a:gd name="T42" fmla="*/ 62 w 141"/>
                    <a:gd name="T43" fmla="*/ 66 h 143"/>
                    <a:gd name="T44" fmla="*/ 87 w 141"/>
                    <a:gd name="T45" fmla="*/ 45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1" h="143">
                      <a:moveTo>
                        <a:pt x="138" y="30"/>
                      </a:moveTo>
                      <a:cubicBezTo>
                        <a:pt x="114" y="29"/>
                        <a:pt x="114" y="29"/>
                        <a:pt x="114" y="29"/>
                      </a:cubicBezTo>
                      <a:cubicBezTo>
                        <a:pt x="117" y="34"/>
                        <a:pt x="118" y="40"/>
                        <a:pt x="117" y="47"/>
                      </a:cubicBezTo>
                      <a:cubicBezTo>
                        <a:pt x="114" y="70"/>
                        <a:pt x="90" y="88"/>
                        <a:pt x="59" y="88"/>
                      </a:cubicBezTo>
                      <a:cubicBezTo>
                        <a:pt x="58" y="88"/>
                        <a:pt x="56" y="88"/>
                        <a:pt x="54" y="88"/>
                      </a:cubicBezTo>
                      <a:cubicBezTo>
                        <a:pt x="35" y="113"/>
                        <a:pt x="35" y="113"/>
                        <a:pt x="35" y="113"/>
                      </a:cubicBezTo>
                      <a:cubicBezTo>
                        <a:pt x="49" y="105"/>
                        <a:pt x="67" y="98"/>
                        <a:pt x="84" y="98"/>
                      </a:cubicBezTo>
                      <a:cubicBezTo>
                        <a:pt x="102" y="98"/>
                        <a:pt x="120" y="106"/>
                        <a:pt x="118" y="139"/>
                      </a:cubicBezTo>
                      <a:cubicBezTo>
                        <a:pt x="84" y="143"/>
                        <a:pt x="84" y="143"/>
                        <a:pt x="84" y="143"/>
                      </a:cubicBezTo>
                      <a:cubicBezTo>
                        <a:pt x="84" y="128"/>
                        <a:pt x="77" y="125"/>
                        <a:pt x="66" y="125"/>
                      </a:cubicBezTo>
                      <a:cubicBezTo>
                        <a:pt x="53" y="125"/>
                        <a:pt x="34" y="130"/>
                        <a:pt x="18" y="139"/>
                      </a:cubicBezTo>
                      <a:cubicBezTo>
                        <a:pt x="0" y="127"/>
                        <a:pt x="0" y="127"/>
                        <a:pt x="0" y="127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15" y="72"/>
                        <a:pt x="9" y="59"/>
                        <a:pt x="11" y="45"/>
                      </a:cubicBezTo>
                      <a:cubicBezTo>
                        <a:pt x="15" y="21"/>
                        <a:pt x="40" y="0"/>
                        <a:pt x="71" y="0"/>
                      </a:cubicBezTo>
                      <a:cubicBezTo>
                        <a:pt x="78" y="0"/>
                        <a:pt x="85" y="1"/>
                        <a:pt x="91" y="3"/>
                      </a:cubicBezTo>
                      <a:cubicBezTo>
                        <a:pt x="141" y="3"/>
                        <a:pt x="141" y="3"/>
                        <a:pt x="141" y="3"/>
                      </a:cubicBezTo>
                      <a:lnTo>
                        <a:pt x="138" y="30"/>
                      </a:lnTo>
                      <a:close/>
                      <a:moveTo>
                        <a:pt x="87" y="45"/>
                      </a:moveTo>
                      <a:cubicBezTo>
                        <a:pt x="89" y="31"/>
                        <a:pt x="79" y="23"/>
                        <a:pt x="67" y="23"/>
                      </a:cubicBezTo>
                      <a:cubicBezTo>
                        <a:pt x="55" y="23"/>
                        <a:pt x="44" y="31"/>
                        <a:pt x="42" y="44"/>
                      </a:cubicBezTo>
                      <a:cubicBezTo>
                        <a:pt x="40" y="57"/>
                        <a:pt x="50" y="66"/>
                        <a:pt x="62" y="66"/>
                      </a:cubicBezTo>
                      <a:cubicBezTo>
                        <a:pt x="74" y="66"/>
                        <a:pt x="85" y="58"/>
                        <a:pt x="87" y="45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" name="Freeform 19">
                  <a:extLst>
                    <a:ext uri="{FF2B5EF4-FFF2-40B4-BE49-F238E27FC236}">
                      <a16:creationId xmlns:a16="http://schemas.microsoft.com/office/drawing/2014/main" id="{3EB25A27-5AFA-4ED3-B328-3B8A3A9B872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22588538" y="3363913"/>
                  <a:ext cx="203200" cy="176213"/>
                </a:xfrm>
                <a:custGeom>
                  <a:avLst/>
                  <a:gdLst>
                    <a:gd name="T0" fmla="*/ 4 w 123"/>
                    <a:gd name="T1" fmla="*/ 55 h 106"/>
                    <a:gd name="T2" fmla="*/ 70 w 123"/>
                    <a:gd name="T3" fmla="*/ 0 h 106"/>
                    <a:gd name="T4" fmla="*/ 119 w 123"/>
                    <a:gd name="T5" fmla="*/ 51 h 106"/>
                    <a:gd name="T6" fmla="*/ 53 w 123"/>
                    <a:gd name="T7" fmla="*/ 106 h 106"/>
                    <a:gd name="T8" fmla="*/ 4 w 123"/>
                    <a:gd name="T9" fmla="*/ 55 h 106"/>
                    <a:gd name="T10" fmla="*/ 86 w 123"/>
                    <a:gd name="T11" fmla="*/ 54 h 106"/>
                    <a:gd name="T12" fmla="*/ 65 w 123"/>
                    <a:gd name="T13" fmla="*/ 24 h 106"/>
                    <a:gd name="T14" fmla="*/ 38 w 123"/>
                    <a:gd name="T15" fmla="*/ 52 h 106"/>
                    <a:gd name="T16" fmla="*/ 59 w 123"/>
                    <a:gd name="T17" fmla="*/ 82 h 106"/>
                    <a:gd name="T18" fmla="*/ 86 w 123"/>
                    <a:gd name="T19" fmla="*/ 5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06">
                      <a:moveTo>
                        <a:pt x="4" y="55"/>
                      </a:moveTo>
                      <a:cubicBezTo>
                        <a:pt x="9" y="24"/>
                        <a:pt x="37" y="0"/>
                        <a:pt x="70" y="0"/>
                      </a:cubicBezTo>
                      <a:cubicBezTo>
                        <a:pt x="102" y="0"/>
                        <a:pt x="123" y="22"/>
                        <a:pt x="119" y="51"/>
                      </a:cubicBezTo>
                      <a:cubicBezTo>
                        <a:pt x="115" y="82"/>
                        <a:pt x="87" y="106"/>
                        <a:pt x="53" y="106"/>
                      </a:cubicBezTo>
                      <a:cubicBezTo>
                        <a:pt x="21" y="106"/>
                        <a:pt x="0" y="84"/>
                        <a:pt x="4" y="55"/>
                      </a:cubicBezTo>
                      <a:close/>
                      <a:moveTo>
                        <a:pt x="86" y="54"/>
                      </a:moveTo>
                      <a:cubicBezTo>
                        <a:pt x="88" y="36"/>
                        <a:pt x="80" y="24"/>
                        <a:pt x="65" y="24"/>
                      </a:cubicBezTo>
                      <a:cubicBezTo>
                        <a:pt x="50" y="24"/>
                        <a:pt x="40" y="35"/>
                        <a:pt x="38" y="52"/>
                      </a:cubicBezTo>
                      <a:cubicBezTo>
                        <a:pt x="35" y="70"/>
                        <a:pt x="43" y="82"/>
                        <a:pt x="59" y="82"/>
                      </a:cubicBezTo>
                      <a:cubicBezTo>
                        <a:pt x="73" y="82"/>
                        <a:pt x="83" y="71"/>
                        <a:pt x="86" y="54"/>
                      </a:cubicBezTo>
                      <a:close/>
                    </a:path>
                  </a:pathLst>
                </a:custGeom>
                <a:solidFill>
                  <a:srgbClr val="1E1E1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1" name="Rectangle 20">
                <a:extLst>
                  <a:ext uri="{FF2B5EF4-FFF2-40B4-BE49-F238E27FC236}">
                    <a16:creationId xmlns:a16="http://schemas.microsoft.com/office/drawing/2014/main" id="{56975B4C-A07B-4198-849C-C6B5E01823E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" name="Rectangle 21">
                <a:extLst>
                  <a:ext uri="{FF2B5EF4-FFF2-40B4-BE49-F238E27FC236}">
                    <a16:creationId xmlns:a16="http://schemas.microsoft.com/office/drawing/2014/main" id="{6581B025-8100-4789-BDEC-C36D2490CCC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Oval 22">
                <a:extLst>
                  <a:ext uri="{FF2B5EF4-FFF2-40B4-BE49-F238E27FC236}">
                    <a16:creationId xmlns:a16="http://schemas.microsoft.com/office/drawing/2014/main" id="{4941554E-D688-4A18-A50F-2D5792115F6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3">
                <a:extLst>
                  <a:ext uri="{FF2B5EF4-FFF2-40B4-BE49-F238E27FC236}">
                    <a16:creationId xmlns:a16="http://schemas.microsoft.com/office/drawing/2014/main" id="{E93480D3-93DE-4295-A9B9-96DBA76518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24">
                <a:extLst>
                  <a:ext uri="{FF2B5EF4-FFF2-40B4-BE49-F238E27FC236}">
                    <a16:creationId xmlns:a16="http://schemas.microsoft.com/office/drawing/2014/main" id="{28473B45-4F54-4206-91DA-5B90FD7674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25">
                <a:extLst>
                  <a:ext uri="{FF2B5EF4-FFF2-40B4-BE49-F238E27FC236}">
                    <a16:creationId xmlns:a16="http://schemas.microsoft.com/office/drawing/2014/main" id="{40F9354C-DCE9-4DB8-8096-BE2F4A7B38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26">
                <a:extLst>
                  <a:ext uri="{FF2B5EF4-FFF2-40B4-BE49-F238E27FC236}">
                    <a16:creationId xmlns:a16="http://schemas.microsoft.com/office/drawing/2014/main" id="{2CCF9F98-2EA6-493F-B0F5-905F2C6DFB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E73B8B2-97D5-4D50-BAC7-983DE2660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920181"/>
            <a:ext cx="2972985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4400"/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70551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title with descrip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7"/>
            <a:ext cx="4689764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400" y="3712110"/>
            <a:ext cx="4689452" cy="415782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644CA63-68E7-4953-BD26-021C6BAC143E}"/>
              </a:ext>
            </a:extLst>
          </p:cNvPr>
          <p:cNvGrpSpPr/>
          <p:nvPr userDrawn="1"/>
        </p:nvGrpSpPr>
        <p:grpSpPr>
          <a:xfrm>
            <a:off x="7813967" y="5310074"/>
            <a:ext cx="3984336" cy="1151372"/>
            <a:chOff x="7813964" y="5310073"/>
            <a:chExt cx="3984336" cy="115137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17E5F5B-DBEA-415D-9170-F606A454AE3E}"/>
                </a:ext>
              </a:extLst>
            </p:cNvPr>
            <p:cNvGrpSpPr/>
            <p:nvPr userDrawn="1"/>
          </p:nvGrpSpPr>
          <p:grpSpPr>
            <a:xfrm>
              <a:off x="7813964" y="5788335"/>
              <a:ext cx="2358245" cy="226732"/>
              <a:chOff x="19621500" y="3297238"/>
              <a:chExt cx="3170238" cy="304801"/>
            </a:xfrm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id="{F24DD540-E072-4623-8F3E-DC6FE6DC52D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2150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6">
                <a:extLst>
                  <a:ext uri="{FF2B5EF4-FFF2-40B4-BE49-F238E27FC236}">
                    <a16:creationId xmlns:a16="http://schemas.microsoft.com/office/drawing/2014/main" id="{915D8A6D-50BC-429C-B8CF-19F5D19BCC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29463" y="3370263"/>
                <a:ext cx="190500" cy="161925"/>
              </a:xfrm>
              <a:custGeom>
                <a:avLst/>
                <a:gdLst>
                  <a:gd name="T0" fmla="*/ 120 w 120"/>
                  <a:gd name="T1" fmla="*/ 0 h 102"/>
                  <a:gd name="T2" fmla="*/ 62 w 120"/>
                  <a:gd name="T3" fmla="*/ 102 h 102"/>
                  <a:gd name="T4" fmla="*/ 29 w 120"/>
                  <a:gd name="T5" fmla="*/ 102 h 102"/>
                  <a:gd name="T6" fmla="*/ 0 w 120"/>
                  <a:gd name="T7" fmla="*/ 0 h 102"/>
                  <a:gd name="T8" fmla="*/ 35 w 120"/>
                  <a:gd name="T9" fmla="*/ 0 h 102"/>
                  <a:gd name="T10" fmla="*/ 52 w 120"/>
                  <a:gd name="T11" fmla="*/ 67 h 102"/>
                  <a:gd name="T12" fmla="*/ 87 w 120"/>
                  <a:gd name="T13" fmla="*/ 0 h 102"/>
                  <a:gd name="T14" fmla="*/ 120 w 120"/>
                  <a:gd name="T15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102">
                    <a:moveTo>
                      <a:pt x="120" y="0"/>
                    </a:moveTo>
                    <a:lnTo>
                      <a:pt x="62" y="102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2" y="67"/>
                    </a:lnTo>
                    <a:lnTo>
                      <a:pt x="87" y="0"/>
                    </a:lnTo>
                    <a:lnTo>
                      <a:pt x="120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C14C0768-5E05-46FF-8ED5-78187FBA6F9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013613" y="3363913"/>
                <a:ext cx="188913" cy="176213"/>
              </a:xfrm>
              <a:custGeom>
                <a:avLst/>
                <a:gdLst>
                  <a:gd name="T0" fmla="*/ 106 w 114"/>
                  <a:gd name="T1" fmla="*/ 88 h 106"/>
                  <a:gd name="T2" fmla="*/ 54 w 114"/>
                  <a:gd name="T3" fmla="*/ 106 h 106"/>
                  <a:gd name="T4" fmla="*/ 4 w 114"/>
                  <a:gd name="T5" fmla="*/ 55 h 106"/>
                  <a:gd name="T6" fmla="*/ 69 w 114"/>
                  <a:gd name="T7" fmla="*/ 0 h 106"/>
                  <a:gd name="T8" fmla="*/ 111 w 114"/>
                  <a:gd name="T9" fmla="*/ 44 h 106"/>
                  <a:gd name="T10" fmla="*/ 105 w 114"/>
                  <a:gd name="T11" fmla="*/ 61 h 106"/>
                  <a:gd name="T12" fmla="*/ 35 w 114"/>
                  <a:gd name="T13" fmla="*/ 61 h 106"/>
                  <a:gd name="T14" fmla="*/ 64 w 114"/>
                  <a:gd name="T15" fmla="*/ 81 h 106"/>
                  <a:gd name="T16" fmla="*/ 97 w 114"/>
                  <a:gd name="T17" fmla="*/ 72 h 106"/>
                  <a:gd name="T18" fmla="*/ 106 w 114"/>
                  <a:gd name="T19" fmla="*/ 88 h 106"/>
                  <a:gd name="T20" fmla="*/ 38 w 114"/>
                  <a:gd name="T21" fmla="*/ 40 h 106"/>
                  <a:gd name="T22" fmla="*/ 83 w 114"/>
                  <a:gd name="T23" fmla="*/ 40 h 106"/>
                  <a:gd name="T24" fmla="*/ 66 w 114"/>
                  <a:gd name="T25" fmla="*/ 22 h 106"/>
                  <a:gd name="T26" fmla="*/ 38 w 114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4" y="18"/>
                      <a:pt x="111" y="44"/>
                    </a:cubicBezTo>
                    <a:cubicBezTo>
                      <a:pt x="110" y="51"/>
                      <a:pt x="107" y="57"/>
                      <a:pt x="10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7" y="74"/>
                      <a:pt x="47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3" y="40"/>
                      <a:pt x="83" y="40"/>
                      <a:pt x="83" y="40"/>
                    </a:cubicBezTo>
                    <a:cubicBezTo>
                      <a:pt x="84" y="29"/>
                      <a:pt x="77" y="22"/>
                      <a:pt x="66" y="22"/>
                    </a:cubicBezTo>
                    <a:cubicBezTo>
                      <a:pt x="55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8">
                <a:extLst>
                  <a:ext uri="{FF2B5EF4-FFF2-40B4-BE49-F238E27FC236}">
                    <a16:creationId xmlns:a16="http://schemas.microsoft.com/office/drawing/2014/main" id="{748DB273-517C-4F06-B561-BB13D6444A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19988" y="3365501"/>
                <a:ext cx="146050" cy="166688"/>
              </a:xfrm>
              <a:custGeom>
                <a:avLst/>
                <a:gdLst>
                  <a:gd name="T0" fmla="*/ 89 w 89"/>
                  <a:gd name="T1" fmla="*/ 2 h 100"/>
                  <a:gd name="T2" fmla="*/ 84 w 89"/>
                  <a:gd name="T3" fmla="*/ 32 h 100"/>
                  <a:gd name="T4" fmla="*/ 70 w 89"/>
                  <a:gd name="T5" fmla="*/ 30 h 100"/>
                  <a:gd name="T6" fmla="*/ 40 w 89"/>
                  <a:gd name="T7" fmla="*/ 46 h 100"/>
                  <a:gd name="T8" fmla="*/ 32 w 89"/>
                  <a:gd name="T9" fmla="*/ 100 h 100"/>
                  <a:gd name="T10" fmla="*/ 0 w 89"/>
                  <a:gd name="T11" fmla="*/ 100 h 100"/>
                  <a:gd name="T12" fmla="*/ 14 w 89"/>
                  <a:gd name="T13" fmla="*/ 6 h 100"/>
                  <a:gd name="T14" fmla="*/ 45 w 89"/>
                  <a:gd name="T15" fmla="*/ 0 h 100"/>
                  <a:gd name="T16" fmla="*/ 42 w 89"/>
                  <a:gd name="T17" fmla="*/ 22 h 100"/>
                  <a:gd name="T18" fmla="*/ 77 w 89"/>
                  <a:gd name="T19" fmla="*/ 0 h 100"/>
                  <a:gd name="T20" fmla="*/ 89 w 89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100">
                    <a:moveTo>
                      <a:pt x="89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5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9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9">
                <a:extLst>
                  <a:ext uri="{FF2B5EF4-FFF2-40B4-BE49-F238E27FC236}">
                    <a16:creationId xmlns:a16="http://schemas.microsoft.com/office/drawing/2014/main" id="{764C39C3-90D1-4024-A4BF-B08403CF64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69213" y="3370263"/>
                <a:ext cx="187325" cy="228600"/>
              </a:xfrm>
              <a:custGeom>
                <a:avLst/>
                <a:gdLst>
                  <a:gd name="T0" fmla="*/ 118 w 118"/>
                  <a:gd name="T1" fmla="*/ 0 h 144"/>
                  <a:gd name="T2" fmla="*/ 38 w 118"/>
                  <a:gd name="T3" fmla="*/ 144 h 144"/>
                  <a:gd name="T4" fmla="*/ 5 w 118"/>
                  <a:gd name="T5" fmla="*/ 144 h 144"/>
                  <a:gd name="T6" fmla="*/ 31 w 118"/>
                  <a:gd name="T7" fmla="*/ 102 h 144"/>
                  <a:gd name="T8" fmla="*/ 0 w 118"/>
                  <a:gd name="T9" fmla="*/ 0 h 144"/>
                  <a:gd name="T10" fmla="*/ 37 w 118"/>
                  <a:gd name="T11" fmla="*/ 0 h 144"/>
                  <a:gd name="T12" fmla="*/ 53 w 118"/>
                  <a:gd name="T13" fmla="*/ 64 h 144"/>
                  <a:gd name="T14" fmla="*/ 86 w 118"/>
                  <a:gd name="T15" fmla="*/ 0 h 144"/>
                  <a:gd name="T16" fmla="*/ 118 w 118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8" h="144">
                    <a:moveTo>
                      <a:pt x="118" y="0"/>
                    </a:moveTo>
                    <a:lnTo>
                      <a:pt x="38" y="144"/>
                    </a:lnTo>
                    <a:lnTo>
                      <a:pt x="5" y="144"/>
                    </a:lnTo>
                    <a:lnTo>
                      <a:pt x="31" y="102"/>
                    </a:lnTo>
                    <a:lnTo>
                      <a:pt x="0" y="0"/>
                    </a:lnTo>
                    <a:lnTo>
                      <a:pt x="37" y="0"/>
                    </a:lnTo>
                    <a:lnTo>
                      <a:pt x="53" y="64"/>
                    </a:lnTo>
                    <a:lnTo>
                      <a:pt x="86" y="0"/>
                    </a:lnTo>
                    <a:lnTo>
                      <a:pt x="11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23657EFE-091E-412D-89DF-BEA06FB868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61300" y="3370263"/>
                <a:ext cx="266700" cy="161925"/>
              </a:xfrm>
              <a:custGeom>
                <a:avLst/>
                <a:gdLst>
                  <a:gd name="T0" fmla="*/ 168 w 168"/>
                  <a:gd name="T1" fmla="*/ 0 h 102"/>
                  <a:gd name="T2" fmla="*/ 119 w 168"/>
                  <a:gd name="T3" fmla="*/ 102 h 102"/>
                  <a:gd name="T4" fmla="*/ 88 w 168"/>
                  <a:gd name="T5" fmla="*/ 102 h 102"/>
                  <a:gd name="T6" fmla="*/ 76 w 168"/>
                  <a:gd name="T7" fmla="*/ 45 h 102"/>
                  <a:gd name="T8" fmla="*/ 52 w 168"/>
                  <a:gd name="T9" fmla="*/ 102 h 102"/>
                  <a:gd name="T10" fmla="*/ 20 w 168"/>
                  <a:gd name="T11" fmla="*/ 102 h 102"/>
                  <a:gd name="T12" fmla="*/ 0 w 168"/>
                  <a:gd name="T13" fmla="*/ 0 h 102"/>
                  <a:gd name="T14" fmla="*/ 34 w 168"/>
                  <a:gd name="T15" fmla="*/ 0 h 102"/>
                  <a:gd name="T16" fmla="*/ 43 w 168"/>
                  <a:gd name="T17" fmla="*/ 67 h 102"/>
                  <a:gd name="T18" fmla="*/ 70 w 168"/>
                  <a:gd name="T19" fmla="*/ 0 h 102"/>
                  <a:gd name="T20" fmla="*/ 100 w 168"/>
                  <a:gd name="T21" fmla="*/ 0 h 102"/>
                  <a:gd name="T22" fmla="*/ 111 w 168"/>
                  <a:gd name="T23" fmla="*/ 67 h 102"/>
                  <a:gd name="T24" fmla="*/ 137 w 168"/>
                  <a:gd name="T25" fmla="*/ 0 h 102"/>
                  <a:gd name="T26" fmla="*/ 168 w 168"/>
                  <a:gd name="T27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102">
                    <a:moveTo>
                      <a:pt x="168" y="0"/>
                    </a:moveTo>
                    <a:lnTo>
                      <a:pt x="119" y="102"/>
                    </a:lnTo>
                    <a:lnTo>
                      <a:pt x="88" y="102"/>
                    </a:lnTo>
                    <a:lnTo>
                      <a:pt x="76" y="45"/>
                    </a:lnTo>
                    <a:lnTo>
                      <a:pt x="52" y="102"/>
                    </a:lnTo>
                    <a:lnTo>
                      <a:pt x="20" y="102"/>
                    </a:lnTo>
                    <a:lnTo>
                      <a:pt x="0" y="0"/>
                    </a:lnTo>
                    <a:lnTo>
                      <a:pt x="34" y="0"/>
                    </a:lnTo>
                    <a:lnTo>
                      <a:pt x="43" y="67"/>
                    </a:lnTo>
                    <a:lnTo>
                      <a:pt x="70" y="0"/>
                    </a:lnTo>
                    <a:lnTo>
                      <a:pt x="100" y="0"/>
                    </a:lnTo>
                    <a:lnTo>
                      <a:pt x="111" y="67"/>
                    </a:lnTo>
                    <a:lnTo>
                      <a:pt x="137" y="0"/>
                    </a:lnTo>
                    <a:lnTo>
                      <a:pt x="16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11">
                <a:extLst>
                  <a:ext uri="{FF2B5EF4-FFF2-40B4-BE49-F238E27FC236}">
                    <a16:creationId xmlns:a16="http://schemas.microsoft.com/office/drawing/2014/main" id="{0BCAF017-9AFB-49A1-86F6-F4247E39B5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31175" y="3297238"/>
                <a:ext cx="192088" cy="234950"/>
              </a:xfrm>
              <a:custGeom>
                <a:avLst/>
                <a:gdLst>
                  <a:gd name="T0" fmla="*/ 112 w 116"/>
                  <a:gd name="T1" fmla="*/ 84 h 142"/>
                  <a:gd name="T2" fmla="*/ 103 w 116"/>
                  <a:gd name="T3" fmla="*/ 142 h 142"/>
                  <a:gd name="T4" fmla="*/ 71 w 116"/>
                  <a:gd name="T5" fmla="*/ 142 h 142"/>
                  <a:gd name="T6" fmla="*/ 78 w 116"/>
                  <a:gd name="T7" fmla="*/ 94 h 142"/>
                  <a:gd name="T8" fmla="*/ 64 w 116"/>
                  <a:gd name="T9" fmla="*/ 69 h 142"/>
                  <a:gd name="T10" fmla="*/ 41 w 116"/>
                  <a:gd name="T11" fmla="*/ 81 h 142"/>
                  <a:gd name="T12" fmla="*/ 32 w 116"/>
                  <a:gd name="T13" fmla="*/ 142 h 142"/>
                  <a:gd name="T14" fmla="*/ 0 w 116"/>
                  <a:gd name="T15" fmla="*/ 142 h 142"/>
                  <a:gd name="T16" fmla="*/ 19 w 116"/>
                  <a:gd name="T17" fmla="*/ 6 h 142"/>
                  <a:gd name="T18" fmla="*/ 52 w 116"/>
                  <a:gd name="T19" fmla="*/ 0 h 142"/>
                  <a:gd name="T20" fmla="*/ 44 w 116"/>
                  <a:gd name="T21" fmla="*/ 57 h 142"/>
                  <a:gd name="T22" fmla="*/ 81 w 116"/>
                  <a:gd name="T23" fmla="*/ 42 h 142"/>
                  <a:gd name="T24" fmla="*/ 112 w 116"/>
                  <a:gd name="T25" fmla="*/ 8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112" y="84"/>
                    </a:moveTo>
                    <a:cubicBezTo>
                      <a:pt x="103" y="142"/>
                      <a:pt x="103" y="142"/>
                      <a:pt x="103" y="142"/>
                    </a:cubicBezTo>
                    <a:cubicBezTo>
                      <a:pt x="71" y="142"/>
                      <a:pt x="71" y="142"/>
                      <a:pt x="71" y="142"/>
                    </a:cubicBezTo>
                    <a:cubicBezTo>
                      <a:pt x="78" y="94"/>
                      <a:pt x="78" y="94"/>
                      <a:pt x="78" y="94"/>
                    </a:cubicBezTo>
                    <a:cubicBezTo>
                      <a:pt x="80" y="78"/>
                      <a:pt x="76" y="69"/>
                      <a:pt x="64" y="69"/>
                    </a:cubicBezTo>
                    <a:cubicBezTo>
                      <a:pt x="56" y="69"/>
                      <a:pt x="47" y="74"/>
                      <a:pt x="41" y="81"/>
                    </a:cubicBezTo>
                    <a:cubicBezTo>
                      <a:pt x="32" y="142"/>
                      <a:pt x="32" y="142"/>
                      <a:pt x="32" y="14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54" y="47"/>
                      <a:pt x="68" y="42"/>
                      <a:pt x="81" y="42"/>
                    </a:cubicBezTo>
                    <a:cubicBezTo>
                      <a:pt x="101" y="42"/>
                      <a:pt x="116" y="56"/>
                      <a:pt x="112" y="8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81E84B43-2A5A-4C65-8717-E747B3337E4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03755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5 w 115"/>
                  <a:gd name="T3" fmla="*/ 106 h 106"/>
                  <a:gd name="T4" fmla="*/ 5 w 115"/>
                  <a:gd name="T5" fmla="*/ 55 h 106"/>
                  <a:gd name="T6" fmla="*/ 70 w 115"/>
                  <a:gd name="T7" fmla="*/ 0 h 106"/>
                  <a:gd name="T8" fmla="*/ 111 w 115"/>
                  <a:gd name="T9" fmla="*/ 44 h 106"/>
                  <a:gd name="T10" fmla="*/ 106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8 w 115"/>
                  <a:gd name="T17" fmla="*/ 72 h 106"/>
                  <a:gd name="T18" fmla="*/ 106 w 115"/>
                  <a:gd name="T19" fmla="*/ 88 h 106"/>
                  <a:gd name="T20" fmla="*/ 39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9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4" y="97"/>
                      <a:pt x="76" y="106"/>
                      <a:pt x="55" y="106"/>
                    </a:cubicBezTo>
                    <a:cubicBezTo>
                      <a:pt x="21" y="106"/>
                      <a:pt x="0" y="86"/>
                      <a:pt x="5" y="55"/>
                    </a:cubicBezTo>
                    <a:cubicBezTo>
                      <a:pt x="9" y="24"/>
                      <a:pt x="37" y="0"/>
                      <a:pt x="70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6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8" y="77"/>
                      <a:pt x="98" y="72"/>
                    </a:cubicBezTo>
                    <a:lnTo>
                      <a:pt x="106" y="88"/>
                    </a:lnTo>
                    <a:close/>
                    <a:moveTo>
                      <a:pt x="39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9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Freeform 13">
                <a:extLst>
                  <a:ext uri="{FF2B5EF4-FFF2-40B4-BE49-F238E27FC236}">
                    <a16:creationId xmlns:a16="http://schemas.microsoft.com/office/drawing/2014/main" id="{F13DADFD-CCCA-43BE-A308-301CDD6910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45513" y="3365501"/>
                <a:ext cx="144463" cy="166688"/>
              </a:xfrm>
              <a:custGeom>
                <a:avLst/>
                <a:gdLst>
                  <a:gd name="T0" fmla="*/ 88 w 88"/>
                  <a:gd name="T1" fmla="*/ 2 h 100"/>
                  <a:gd name="T2" fmla="*/ 84 w 88"/>
                  <a:gd name="T3" fmla="*/ 32 h 100"/>
                  <a:gd name="T4" fmla="*/ 70 w 88"/>
                  <a:gd name="T5" fmla="*/ 30 h 100"/>
                  <a:gd name="T6" fmla="*/ 40 w 88"/>
                  <a:gd name="T7" fmla="*/ 46 h 100"/>
                  <a:gd name="T8" fmla="*/ 32 w 88"/>
                  <a:gd name="T9" fmla="*/ 100 h 100"/>
                  <a:gd name="T10" fmla="*/ 0 w 88"/>
                  <a:gd name="T11" fmla="*/ 100 h 100"/>
                  <a:gd name="T12" fmla="*/ 13 w 88"/>
                  <a:gd name="T13" fmla="*/ 6 h 100"/>
                  <a:gd name="T14" fmla="*/ 45 w 88"/>
                  <a:gd name="T15" fmla="*/ 0 h 100"/>
                  <a:gd name="T16" fmla="*/ 42 w 88"/>
                  <a:gd name="T17" fmla="*/ 22 h 100"/>
                  <a:gd name="T18" fmla="*/ 77 w 88"/>
                  <a:gd name="T19" fmla="*/ 0 h 100"/>
                  <a:gd name="T20" fmla="*/ 88 w 88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8" h="100">
                    <a:moveTo>
                      <a:pt x="88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4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8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Freeform 14">
                <a:extLst>
                  <a:ext uri="{FF2B5EF4-FFF2-40B4-BE49-F238E27FC236}">
                    <a16:creationId xmlns:a16="http://schemas.microsoft.com/office/drawing/2014/main" id="{21E99C24-67C4-4ECE-9520-D2943A8926D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389975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4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Freeform 15">
                <a:extLst>
                  <a:ext uri="{FF2B5EF4-FFF2-40B4-BE49-F238E27FC236}">
                    <a16:creationId xmlns:a16="http://schemas.microsoft.com/office/drawing/2014/main" id="{72CA8F9D-3E8E-49A2-9B3C-C052C7C4D1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78900" y="3370263"/>
                <a:ext cx="184150" cy="228600"/>
              </a:xfrm>
              <a:custGeom>
                <a:avLst/>
                <a:gdLst>
                  <a:gd name="T0" fmla="*/ 116 w 116"/>
                  <a:gd name="T1" fmla="*/ 0 h 144"/>
                  <a:gd name="T2" fmla="*/ 36 w 116"/>
                  <a:gd name="T3" fmla="*/ 144 h 144"/>
                  <a:gd name="T4" fmla="*/ 4 w 116"/>
                  <a:gd name="T5" fmla="*/ 144 h 144"/>
                  <a:gd name="T6" fmla="*/ 29 w 116"/>
                  <a:gd name="T7" fmla="*/ 102 h 144"/>
                  <a:gd name="T8" fmla="*/ 0 w 116"/>
                  <a:gd name="T9" fmla="*/ 0 h 144"/>
                  <a:gd name="T10" fmla="*/ 35 w 116"/>
                  <a:gd name="T11" fmla="*/ 0 h 144"/>
                  <a:gd name="T12" fmla="*/ 51 w 116"/>
                  <a:gd name="T13" fmla="*/ 64 h 144"/>
                  <a:gd name="T14" fmla="*/ 84 w 116"/>
                  <a:gd name="T15" fmla="*/ 0 h 144"/>
                  <a:gd name="T16" fmla="*/ 116 w 116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6" h="144">
                    <a:moveTo>
                      <a:pt x="116" y="0"/>
                    </a:moveTo>
                    <a:lnTo>
                      <a:pt x="36" y="144"/>
                    </a:lnTo>
                    <a:lnTo>
                      <a:pt x="4" y="144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1" y="64"/>
                    </a:lnTo>
                    <a:lnTo>
                      <a:pt x="84" y="0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16">
                <a:extLst>
                  <a:ext uri="{FF2B5EF4-FFF2-40B4-BE49-F238E27FC236}">
                    <a16:creationId xmlns:a16="http://schemas.microsoft.com/office/drawing/2014/main" id="{2B23EEED-3F52-42B3-93D7-2E1F5731782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85828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2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9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4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Freeform 17">
                <a:extLst>
                  <a:ext uri="{FF2B5EF4-FFF2-40B4-BE49-F238E27FC236}">
                    <a16:creationId xmlns:a16="http://schemas.microsoft.com/office/drawing/2014/main" id="{7DA9CDE6-4301-4CF7-BBCA-F49692B1D0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8950" y="3365501"/>
                <a:ext cx="190500" cy="171450"/>
              </a:xfrm>
              <a:custGeom>
                <a:avLst/>
                <a:gdLst>
                  <a:gd name="T0" fmla="*/ 115 w 115"/>
                  <a:gd name="T1" fmla="*/ 0 h 103"/>
                  <a:gd name="T2" fmla="*/ 101 w 115"/>
                  <a:gd name="T3" fmla="*/ 100 h 103"/>
                  <a:gd name="T4" fmla="*/ 70 w 115"/>
                  <a:gd name="T5" fmla="*/ 100 h 103"/>
                  <a:gd name="T6" fmla="*/ 72 w 115"/>
                  <a:gd name="T7" fmla="*/ 88 h 103"/>
                  <a:gd name="T8" fmla="*/ 35 w 115"/>
                  <a:gd name="T9" fmla="*/ 103 h 103"/>
                  <a:gd name="T10" fmla="*/ 4 w 115"/>
                  <a:gd name="T11" fmla="*/ 61 h 103"/>
                  <a:gd name="T12" fmla="*/ 12 w 115"/>
                  <a:gd name="T13" fmla="*/ 6 h 103"/>
                  <a:gd name="T14" fmla="*/ 45 w 115"/>
                  <a:gd name="T15" fmla="*/ 0 h 103"/>
                  <a:gd name="T16" fmla="*/ 38 w 115"/>
                  <a:gd name="T17" fmla="*/ 51 h 103"/>
                  <a:gd name="T18" fmla="*/ 51 w 115"/>
                  <a:gd name="T19" fmla="*/ 77 h 103"/>
                  <a:gd name="T20" fmla="*/ 74 w 115"/>
                  <a:gd name="T21" fmla="*/ 66 h 103"/>
                  <a:gd name="T22" fmla="*/ 82 w 115"/>
                  <a:gd name="T23" fmla="*/ 6 h 103"/>
                  <a:gd name="T24" fmla="*/ 115 w 115"/>
                  <a:gd name="T25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103">
                    <a:moveTo>
                      <a:pt x="115" y="0"/>
                    </a:moveTo>
                    <a:cubicBezTo>
                      <a:pt x="101" y="100"/>
                      <a:pt x="101" y="100"/>
                      <a:pt x="101" y="100"/>
                    </a:cubicBezTo>
                    <a:cubicBezTo>
                      <a:pt x="70" y="100"/>
                      <a:pt x="70" y="100"/>
                      <a:pt x="70" y="100"/>
                    </a:cubicBezTo>
                    <a:cubicBezTo>
                      <a:pt x="72" y="88"/>
                      <a:pt x="72" y="88"/>
                      <a:pt x="72" y="88"/>
                    </a:cubicBezTo>
                    <a:cubicBezTo>
                      <a:pt x="62" y="98"/>
                      <a:pt x="48" y="103"/>
                      <a:pt x="35" y="103"/>
                    </a:cubicBezTo>
                    <a:cubicBezTo>
                      <a:pt x="14" y="103"/>
                      <a:pt x="0" y="89"/>
                      <a:pt x="4" y="61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38" y="51"/>
                      <a:pt x="38" y="51"/>
                      <a:pt x="38" y="51"/>
                    </a:cubicBezTo>
                    <a:cubicBezTo>
                      <a:pt x="35" y="68"/>
                      <a:pt x="40" y="77"/>
                      <a:pt x="51" y="77"/>
                    </a:cubicBezTo>
                    <a:cubicBezTo>
                      <a:pt x="59" y="77"/>
                      <a:pt x="67" y="73"/>
                      <a:pt x="74" y="66"/>
                    </a:cubicBezTo>
                    <a:cubicBezTo>
                      <a:pt x="82" y="6"/>
                      <a:pt x="82" y="6"/>
                      <a:pt x="82" y="6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Freeform 18">
                <a:extLst>
                  <a:ext uri="{FF2B5EF4-FFF2-40B4-BE49-F238E27FC236}">
                    <a16:creationId xmlns:a16="http://schemas.microsoft.com/office/drawing/2014/main" id="{C0A4BB0B-23A1-41AF-B663-81B3986047A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53588" y="3365501"/>
                <a:ext cx="233363" cy="236538"/>
              </a:xfrm>
              <a:custGeom>
                <a:avLst/>
                <a:gdLst>
                  <a:gd name="T0" fmla="*/ 138 w 141"/>
                  <a:gd name="T1" fmla="*/ 30 h 143"/>
                  <a:gd name="T2" fmla="*/ 114 w 141"/>
                  <a:gd name="T3" fmla="*/ 29 h 143"/>
                  <a:gd name="T4" fmla="*/ 117 w 141"/>
                  <a:gd name="T5" fmla="*/ 47 h 143"/>
                  <a:gd name="T6" fmla="*/ 59 w 141"/>
                  <a:gd name="T7" fmla="*/ 88 h 143"/>
                  <a:gd name="T8" fmla="*/ 54 w 141"/>
                  <a:gd name="T9" fmla="*/ 88 h 143"/>
                  <a:gd name="T10" fmla="*/ 35 w 141"/>
                  <a:gd name="T11" fmla="*/ 113 h 143"/>
                  <a:gd name="T12" fmla="*/ 84 w 141"/>
                  <a:gd name="T13" fmla="*/ 98 h 143"/>
                  <a:gd name="T14" fmla="*/ 118 w 141"/>
                  <a:gd name="T15" fmla="*/ 139 h 143"/>
                  <a:gd name="T16" fmla="*/ 84 w 141"/>
                  <a:gd name="T17" fmla="*/ 143 h 143"/>
                  <a:gd name="T18" fmla="*/ 66 w 141"/>
                  <a:gd name="T19" fmla="*/ 125 h 143"/>
                  <a:gd name="T20" fmla="*/ 18 w 141"/>
                  <a:gd name="T21" fmla="*/ 139 h 143"/>
                  <a:gd name="T22" fmla="*/ 0 w 141"/>
                  <a:gd name="T23" fmla="*/ 127 h 143"/>
                  <a:gd name="T24" fmla="*/ 27 w 141"/>
                  <a:gd name="T25" fmla="*/ 79 h 143"/>
                  <a:gd name="T26" fmla="*/ 11 w 141"/>
                  <a:gd name="T27" fmla="*/ 45 h 143"/>
                  <a:gd name="T28" fmla="*/ 71 w 141"/>
                  <a:gd name="T29" fmla="*/ 0 h 143"/>
                  <a:gd name="T30" fmla="*/ 91 w 141"/>
                  <a:gd name="T31" fmla="*/ 3 h 143"/>
                  <a:gd name="T32" fmla="*/ 141 w 141"/>
                  <a:gd name="T33" fmla="*/ 3 h 143"/>
                  <a:gd name="T34" fmla="*/ 138 w 141"/>
                  <a:gd name="T35" fmla="*/ 30 h 143"/>
                  <a:gd name="T36" fmla="*/ 87 w 141"/>
                  <a:gd name="T37" fmla="*/ 45 h 143"/>
                  <a:gd name="T38" fmla="*/ 67 w 141"/>
                  <a:gd name="T39" fmla="*/ 23 h 143"/>
                  <a:gd name="T40" fmla="*/ 42 w 141"/>
                  <a:gd name="T41" fmla="*/ 44 h 143"/>
                  <a:gd name="T42" fmla="*/ 62 w 141"/>
                  <a:gd name="T43" fmla="*/ 66 h 143"/>
                  <a:gd name="T44" fmla="*/ 87 w 141"/>
                  <a:gd name="T45" fmla="*/ 45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1" h="143">
                    <a:moveTo>
                      <a:pt x="138" y="30"/>
                    </a:moveTo>
                    <a:cubicBezTo>
                      <a:pt x="114" y="29"/>
                      <a:pt x="114" y="29"/>
                      <a:pt x="114" y="29"/>
                    </a:cubicBezTo>
                    <a:cubicBezTo>
                      <a:pt x="117" y="34"/>
                      <a:pt x="118" y="40"/>
                      <a:pt x="117" y="47"/>
                    </a:cubicBezTo>
                    <a:cubicBezTo>
                      <a:pt x="114" y="70"/>
                      <a:pt x="90" y="88"/>
                      <a:pt x="59" y="88"/>
                    </a:cubicBezTo>
                    <a:cubicBezTo>
                      <a:pt x="58" y="88"/>
                      <a:pt x="56" y="88"/>
                      <a:pt x="54" y="88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49" y="105"/>
                      <a:pt x="67" y="98"/>
                      <a:pt x="84" y="98"/>
                    </a:cubicBezTo>
                    <a:cubicBezTo>
                      <a:pt x="102" y="98"/>
                      <a:pt x="120" y="106"/>
                      <a:pt x="118" y="139"/>
                    </a:cubicBezTo>
                    <a:cubicBezTo>
                      <a:pt x="84" y="143"/>
                      <a:pt x="84" y="143"/>
                      <a:pt x="84" y="143"/>
                    </a:cubicBezTo>
                    <a:cubicBezTo>
                      <a:pt x="84" y="128"/>
                      <a:pt x="77" y="125"/>
                      <a:pt x="66" y="125"/>
                    </a:cubicBezTo>
                    <a:cubicBezTo>
                      <a:pt x="53" y="125"/>
                      <a:pt x="34" y="130"/>
                      <a:pt x="18" y="139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27" y="79"/>
                      <a:pt x="27" y="79"/>
                      <a:pt x="27" y="79"/>
                    </a:cubicBezTo>
                    <a:cubicBezTo>
                      <a:pt x="15" y="72"/>
                      <a:pt x="9" y="59"/>
                      <a:pt x="11" y="45"/>
                    </a:cubicBezTo>
                    <a:cubicBezTo>
                      <a:pt x="15" y="21"/>
                      <a:pt x="40" y="0"/>
                      <a:pt x="71" y="0"/>
                    </a:cubicBezTo>
                    <a:cubicBezTo>
                      <a:pt x="78" y="0"/>
                      <a:pt x="85" y="1"/>
                      <a:pt x="91" y="3"/>
                    </a:cubicBezTo>
                    <a:cubicBezTo>
                      <a:pt x="141" y="3"/>
                      <a:pt x="141" y="3"/>
                      <a:pt x="141" y="3"/>
                    </a:cubicBezTo>
                    <a:lnTo>
                      <a:pt x="138" y="30"/>
                    </a:lnTo>
                    <a:close/>
                    <a:moveTo>
                      <a:pt x="87" y="45"/>
                    </a:moveTo>
                    <a:cubicBezTo>
                      <a:pt x="89" y="31"/>
                      <a:pt x="79" y="23"/>
                      <a:pt x="67" y="23"/>
                    </a:cubicBezTo>
                    <a:cubicBezTo>
                      <a:pt x="55" y="23"/>
                      <a:pt x="44" y="31"/>
                      <a:pt x="42" y="44"/>
                    </a:cubicBezTo>
                    <a:cubicBezTo>
                      <a:pt x="40" y="57"/>
                      <a:pt x="50" y="66"/>
                      <a:pt x="62" y="66"/>
                    </a:cubicBezTo>
                    <a:cubicBezTo>
                      <a:pt x="74" y="66"/>
                      <a:pt x="85" y="58"/>
                      <a:pt x="87" y="45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Freeform 19">
                <a:extLst>
                  <a:ext uri="{FF2B5EF4-FFF2-40B4-BE49-F238E27FC236}">
                    <a16:creationId xmlns:a16="http://schemas.microsoft.com/office/drawing/2014/main" id="{C7C2CAFD-AA4C-4289-9047-E22FD05C9D3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58853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1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8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3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0" name="Rectangle 20">
              <a:extLst>
                <a:ext uri="{FF2B5EF4-FFF2-40B4-BE49-F238E27FC236}">
                  <a16:creationId xmlns:a16="http://schemas.microsoft.com/office/drawing/2014/main" id="{D97041E3-A548-4C24-8788-AD625982DD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" name="Rectangle 21">
              <a:extLst>
                <a:ext uri="{FF2B5EF4-FFF2-40B4-BE49-F238E27FC236}">
                  <a16:creationId xmlns:a16="http://schemas.microsoft.com/office/drawing/2014/main" id="{43DADDBB-70E2-4D0A-98CB-2F4588488A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" name="Oval 22">
              <a:extLst>
                <a:ext uri="{FF2B5EF4-FFF2-40B4-BE49-F238E27FC236}">
                  <a16:creationId xmlns:a16="http://schemas.microsoft.com/office/drawing/2014/main" id="{AC48790F-1B31-4776-8F47-310BDC5684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" name="Freeform 23">
              <a:extLst>
                <a:ext uri="{FF2B5EF4-FFF2-40B4-BE49-F238E27FC236}">
                  <a16:creationId xmlns:a16="http://schemas.microsoft.com/office/drawing/2014/main" id="{0E469266-A34A-4FB4-B79A-3D1CA32713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" name="Freeform 24">
              <a:extLst>
                <a:ext uri="{FF2B5EF4-FFF2-40B4-BE49-F238E27FC236}">
                  <a16:creationId xmlns:a16="http://schemas.microsoft.com/office/drawing/2014/main" id="{2A332CF7-387C-4106-93ED-2E2B523B45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" name="Freeform 25">
              <a:extLst>
                <a:ext uri="{FF2B5EF4-FFF2-40B4-BE49-F238E27FC236}">
                  <a16:creationId xmlns:a16="http://schemas.microsoft.com/office/drawing/2014/main" id="{66AAAC0B-E0A9-4F75-82BE-FAA3D2AE0D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F32F5E96-3849-4770-AA85-972FADF698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2167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F01F2-4E0C-43D0-85E2-C7AAFFE13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79F1D1-EE6A-49AF-B19E-73E4B7E72D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08C2E1-0A0E-4510-9164-8C4D1037BE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740DA9-511C-4DBB-9DBA-431AE5877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CF54F5-8273-47D2-A0A7-2C60A28BC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B5BF40-021E-4D0D-973A-C2FD0EA18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4291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title no descrip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7"/>
            <a:ext cx="4689764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400" y="3712110"/>
            <a:ext cx="4689452" cy="415782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602DD4A-209A-4147-A1DB-77CB5DA19478}"/>
              </a:ext>
            </a:extLst>
          </p:cNvPr>
          <p:cNvGrpSpPr/>
          <p:nvPr userDrawn="1"/>
        </p:nvGrpSpPr>
        <p:grpSpPr>
          <a:xfrm>
            <a:off x="10648114" y="5310074"/>
            <a:ext cx="1150191" cy="1151372"/>
            <a:chOff x="10648109" y="5310073"/>
            <a:chExt cx="1150191" cy="1151372"/>
          </a:xfrm>
        </p:grpSpPr>
        <p:sp>
          <p:nvSpPr>
            <p:cNvPr id="9" name="Rectangle 20">
              <a:extLst>
                <a:ext uri="{FF2B5EF4-FFF2-40B4-BE49-F238E27FC236}">
                  <a16:creationId xmlns:a16="http://schemas.microsoft.com/office/drawing/2014/main" id="{D6C5EAE9-B01B-4FAA-A91C-E1C0BC00D2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967A8A80-F28B-4732-A65D-956DDCE829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" name="Oval 22">
              <a:extLst>
                <a:ext uri="{FF2B5EF4-FFF2-40B4-BE49-F238E27FC236}">
                  <a16:creationId xmlns:a16="http://schemas.microsoft.com/office/drawing/2014/main" id="{BE1DF5F0-728B-46E7-8FFB-CD9D3AA284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" name="Freeform 23">
              <a:extLst>
                <a:ext uri="{FF2B5EF4-FFF2-40B4-BE49-F238E27FC236}">
                  <a16:creationId xmlns:a16="http://schemas.microsoft.com/office/drawing/2014/main" id="{23859540-25EC-485F-8DC0-652C13F406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" name="Freeform 24">
              <a:extLst>
                <a:ext uri="{FF2B5EF4-FFF2-40B4-BE49-F238E27FC236}">
                  <a16:creationId xmlns:a16="http://schemas.microsoft.com/office/drawing/2014/main" id="{2F006CC0-0CF4-4F71-93B7-3E5B9F663C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" name="Freeform 25">
              <a:extLst>
                <a:ext uri="{FF2B5EF4-FFF2-40B4-BE49-F238E27FC236}">
                  <a16:creationId xmlns:a16="http://schemas.microsoft.com/office/drawing/2014/main" id="{964BB10C-BEB3-4CA9-A690-BD529AE44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" name="Freeform 26">
              <a:extLst>
                <a:ext uri="{FF2B5EF4-FFF2-40B4-BE49-F238E27FC236}">
                  <a16:creationId xmlns:a16="http://schemas.microsoft.com/office/drawing/2014/main" id="{F2385670-C656-4767-829F-B0CB8F62C6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4710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with descrip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7"/>
            <a:ext cx="4689764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400" y="3712110"/>
            <a:ext cx="4689452" cy="415782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6E89B14-7191-473E-9D94-A0EBF7DC42C3}"/>
              </a:ext>
            </a:extLst>
          </p:cNvPr>
          <p:cNvGrpSpPr/>
          <p:nvPr userDrawn="1"/>
        </p:nvGrpSpPr>
        <p:grpSpPr>
          <a:xfrm>
            <a:off x="7813967" y="5310074"/>
            <a:ext cx="3984336" cy="1151372"/>
            <a:chOff x="7813964" y="5310073"/>
            <a:chExt cx="3984336" cy="115137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C444E51-2D96-4BC8-971E-2CC1F0702C14}"/>
                </a:ext>
              </a:extLst>
            </p:cNvPr>
            <p:cNvGrpSpPr/>
            <p:nvPr userDrawn="1"/>
          </p:nvGrpSpPr>
          <p:grpSpPr>
            <a:xfrm>
              <a:off x="7813964" y="5788335"/>
              <a:ext cx="2358245" cy="226732"/>
              <a:chOff x="19621500" y="3297238"/>
              <a:chExt cx="3170238" cy="304801"/>
            </a:xfrm>
          </p:grpSpPr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11AFC07B-9E43-46C0-BA56-88B6897B77E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2150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05F54973-D235-47D4-B246-41BD9A6FF2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29463" y="3370263"/>
                <a:ext cx="190500" cy="161925"/>
              </a:xfrm>
              <a:custGeom>
                <a:avLst/>
                <a:gdLst>
                  <a:gd name="T0" fmla="*/ 120 w 120"/>
                  <a:gd name="T1" fmla="*/ 0 h 102"/>
                  <a:gd name="T2" fmla="*/ 62 w 120"/>
                  <a:gd name="T3" fmla="*/ 102 h 102"/>
                  <a:gd name="T4" fmla="*/ 29 w 120"/>
                  <a:gd name="T5" fmla="*/ 102 h 102"/>
                  <a:gd name="T6" fmla="*/ 0 w 120"/>
                  <a:gd name="T7" fmla="*/ 0 h 102"/>
                  <a:gd name="T8" fmla="*/ 35 w 120"/>
                  <a:gd name="T9" fmla="*/ 0 h 102"/>
                  <a:gd name="T10" fmla="*/ 52 w 120"/>
                  <a:gd name="T11" fmla="*/ 67 h 102"/>
                  <a:gd name="T12" fmla="*/ 87 w 120"/>
                  <a:gd name="T13" fmla="*/ 0 h 102"/>
                  <a:gd name="T14" fmla="*/ 120 w 120"/>
                  <a:gd name="T15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102">
                    <a:moveTo>
                      <a:pt x="120" y="0"/>
                    </a:moveTo>
                    <a:lnTo>
                      <a:pt x="62" y="102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2" y="67"/>
                    </a:lnTo>
                    <a:lnTo>
                      <a:pt x="87" y="0"/>
                    </a:lnTo>
                    <a:lnTo>
                      <a:pt x="120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0EB7562F-1D72-46EA-B2D0-F60784E1653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013613" y="3363913"/>
                <a:ext cx="188913" cy="176213"/>
              </a:xfrm>
              <a:custGeom>
                <a:avLst/>
                <a:gdLst>
                  <a:gd name="T0" fmla="*/ 106 w 114"/>
                  <a:gd name="T1" fmla="*/ 88 h 106"/>
                  <a:gd name="T2" fmla="*/ 54 w 114"/>
                  <a:gd name="T3" fmla="*/ 106 h 106"/>
                  <a:gd name="T4" fmla="*/ 4 w 114"/>
                  <a:gd name="T5" fmla="*/ 55 h 106"/>
                  <a:gd name="T6" fmla="*/ 69 w 114"/>
                  <a:gd name="T7" fmla="*/ 0 h 106"/>
                  <a:gd name="T8" fmla="*/ 111 w 114"/>
                  <a:gd name="T9" fmla="*/ 44 h 106"/>
                  <a:gd name="T10" fmla="*/ 105 w 114"/>
                  <a:gd name="T11" fmla="*/ 61 h 106"/>
                  <a:gd name="T12" fmla="*/ 35 w 114"/>
                  <a:gd name="T13" fmla="*/ 61 h 106"/>
                  <a:gd name="T14" fmla="*/ 64 w 114"/>
                  <a:gd name="T15" fmla="*/ 81 h 106"/>
                  <a:gd name="T16" fmla="*/ 97 w 114"/>
                  <a:gd name="T17" fmla="*/ 72 h 106"/>
                  <a:gd name="T18" fmla="*/ 106 w 114"/>
                  <a:gd name="T19" fmla="*/ 88 h 106"/>
                  <a:gd name="T20" fmla="*/ 38 w 114"/>
                  <a:gd name="T21" fmla="*/ 40 h 106"/>
                  <a:gd name="T22" fmla="*/ 83 w 114"/>
                  <a:gd name="T23" fmla="*/ 40 h 106"/>
                  <a:gd name="T24" fmla="*/ 66 w 114"/>
                  <a:gd name="T25" fmla="*/ 22 h 106"/>
                  <a:gd name="T26" fmla="*/ 38 w 114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4" y="18"/>
                      <a:pt x="111" y="44"/>
                    </a:cubicBezTo>
                    <a:cubicBezTo>
                      <a:pt x="110" y="51"/>
                      <a:pt x="107" y="57"/>
                      <a:pt x="10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7" y="74"/>
                      <a:pt x="47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3" y="40"/>
                      <a:pt x="83" y="40"/>
                      <a:pt x="83" y="40"/>
                    </a:cubicBezTo>
                    <a:cubicBezTo>
                      <a:pt x="84" y="29"/>
                      <a:pt x="77" y="22"/>
                      <a:pt x="66" y="22"/>
                    </a:cubicBezTo>
                    <a:cubicBezTo>
                      <a:pt x="55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774530ED-6FD1-45E4-AB9E-0C0905EF76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19988" y="3365501"/>
                <a:ext cx="146050" cy="166688"/>
              </a:xfrm>
              <a:custGeom>
                <a:avLst/>
                <a:gdLst>
                  <a:gd name="T0" fmla="*/ 89 w 89"/>
                  <a:gd name="T1" fmla="*/ 2 h 100"/>
                  <a:gd name="T2" fmla="*/ 84 w 89"/>
                  <a:gd name="T3" fmla="*/ 32 h 100"/>
                  <a:gd name="T4" fmla="*/ 70 w 89"/>
                  <a:gd name="T5" fmla="*/ 30 h 100"/>
                  <a:gd name="T6" fmla="*/ 40 w 89"/>
                  <a:gd name="T7" fmla="*/ 46 h 100"/>
                  <a:gd name="T8" fmla="*/ 32 w 89"/>
                  <a:gd name="T9" fmla="*/ 100 h 100"/>
                  <a:gd name="T10" fmla="*/ 0 w 89"/>
                  <a:gd name="T11" fmla="*/ 100 h 100"/>
                  <a:gd name="T12" fmla="*/ 14 w 89"/>
                  <a:gd name="T13" fmla="*/ 6 h 100"/>
                  <a:gd name="T14" fmla="*/ 45 w 89"/>
                  <a:gd name="T15" fmla="*/ 0 h 100"/>
                  <a:gd name="T16" fmla="*/ 42 w 89"/>
                  <a:gd name="T17" fmla="*/ 22 h 100"/>
                  <a:gd name="T18" fmla="*/ 77 w 89"/>
                  <a:gd name="T19" fmla="*/ 0 h 100"/>
                  <a:gd name="T20" fmla="*/ 89 w 89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100">
                    <a:moveTo>
                      <a:pt x="89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5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9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F2F32A1C-401B-49C7-B18C-F801172C0F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69213" y="3370263"/>
                <a:ext cx="187325" cy="228600"/>
              </a:xfrm>
              <a:custGeom>
                <a:avLst/>
                <a:gdLst>
                  <a:gd name="T0" fmla="*/ 118 w 118"/>
                  <a:gd name="T1" fmla="*/ 0 h 144"/>
                  <a:gd name="T2" fmla="*/ 38 w 118"/>
                  <a:gd name="T3" fmla="*/ 144 h 144"/>
                  <a:gd name="T4" fmla="*/ 5 w 118"/>
                  <a:gd name="T5" fmla="*/ 144 h 144"/>
                  <a:gd name="T6" fmla="*/ 31 w 118"/>
                  <a:gd name="T7" fmla="*/ 102 h 144"/>
                  <a:gd name="T8" fmla="*/ 0 w 118"/>
                  <a:gd name="T9" fmla="*/ 0 h 144"/>
                  <a:gd name="T10" fmla="*/ 37 w 118"/>
                  <a:gd name="T11" fmla="*/ 0 h 144"/>
                  <a:gd name="T12" fmla="*/ 53 w 118"/>
                  <a:gd name="T13" fmla="*/ 64 h 144"/>
                  <a:gd name="T14" fmla="*/ 86 w 118"/>
                  <a:gd name="T15" fmla="*/ 0 h 144"/>
                  <a:gd name="T16" fmla="*/ 118 w 118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8" h="144">
                    <a:moveTo>
                      <a:pt x="118" y="0"/>
                    </a:moveTo>
                    <a:lnTo>
                      <a:pt x="38" y="144"/>
                    </a:lnTo>
                    <a:lnTo>
                      <a:pt x="5" y="144"/>
                    </a:lnTo>
                    <a:lnTo>
                      <a:pt x="31" y="102"/>
                    </a:lnTo>
                    <a:lnTo>
                      <a:pt x="0" y="0"/>
                    </a:lnTo>
                    <a:lnTo>
                      <a:pt x="37" y="0"/>
                    </a:lnTo>
                    <a:lnTo>
                      <a:pt x="53" y="64"/>
                    </a:lnTo>
                    <a:lnTo>
                      <a:pt x="86" y="0"/>
                    </a:lnTo>
                    <a:lnTo>
                      <a:pt x="11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11A2760D-D5BE-4A96-81A9-D5E5386035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61300" y="3370263"/>
                <a:ext cx="266700" cy="161925"/>
              </a:xfrm>
              <a:custGeom>
                <a:avLst/>
                <a:gdLst>
                  <a:gd name="T0" fmla="*/ 168 w 168"/>
                  <a:gd name="T1" fmla="*/ 0 h 102"/>
                  <a:gd name="T2" fmla="*/ 119 w 168"/>
                  <a:gd name="T3" fmla="*/ 102 h 102"/>
                  <a:gd name="T4" fmla="*/ 88 w 168"/>
                  <a:gd name="T5" fmla="*/ 102 h 102"/>
                  <a:gd name="T6" fmla="*/ 76 w 168"/>
                  <a:gd name="T7" fmla="*/ 45 h 102"/>
                  <a:gd name="T8" fmla="*/ 52 w 168"/>
                  <a:gd name="T9" fmla="*/ 102 h 102"/>
                  <a:gd name="T10" fmla="*/ 20 w 168"/>
                  <a:gd name="T11" fmla="*/ 102 h 102"/>
                  <a:gd name="T12" fmla="*/ 0 w 168"/>
                  <a:gd name="T13" fmla="*/ 0 h 102"/>
                  <a:gd name="T14" fmla="*/ 34 w 168"/>
                  <a:gd name="T15" fmla="*/ 0 h 102"/>
                  <a:gd name="T16" fmla="*/ 43 w 168"/>
                  <a:gd name="T17" fmla="*/ 67 h 102"/>
                  <a:gd name="T18" fmla="*/ 70 w 168"/>
                  <a:gd name="T19" fmla="*/ 0 h 102"/>
                  <a:gd name="T20" fmla="*/ 100 w 168"/>
                  <a:gd name="T21" fmla="*/ 0 h 102"/>
                  <a:gd name="T22" fmla="*/ 111 w 168"/>
                  <a:gd name="T23" fmla="*/ 67 h 102"/>
                  <a:gd name="T24" fmla="*/ 137 w 168"/>
                  <a:gd name="T25" fmla="*/ 0 h 102"/>
                  <a:gd name="T26" fmla="*/ 168 w 168"/>
                  <a:gd name="T27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" h="102">
                    <a:moveTo>
                      <a:pt x="168" y="0"/>
                    </a:moveTo>
                    <a:lnTo>
                      <a:pt x="119" y="102"/>
                    </a:lnTo>
                    <a:lnTo>
                      <a:pt x="88" y="102"/>
                    </a:lnTo>
                    <a:lnTo>
                      <a:pt x="76" y="45"/>
                    </a:lnTo>
                    <a:lnTo>
                      <a:pt x="52" y="102"/>
                    </a:lnTo>
                    <a:lnTo>
                      <a:pt x="20" y="102"/>
                    </a:lnTo>
                    <a:lnTo>
                      <a:pt x="0" y="0"/>
                    </a:lnTo>
                    <a:lnTo>
                      <a:pt x="34" y="0"/>
                    </a:lnTo>
                    <a:lnTo>
                      <a:pt x="43" y="67"/>
                    </a:lnTo>
                    <a:lnTo>
                      <a:pt x="70" y="0"/>
                    </a:lnTo>
                    <a:lnTo>
                      <a:pt x="100" y="0"/>
                    </a:lnTo>
                    <a:lnTo>
                      <a:pt x="111" y="67"/>
                    </a:lnTo>
                    <a:lnTo>
                      <a:pt x="137" y="0"/>
                    </a:lnTo>
                    <a:lnTo>
                      <a:pt x="168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80F98C4B-8BF0-44AE-942F-10FEB5E45E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31175" y="3297238"/>
                <a:ext cx="192088" cy="234950"/>
              </a:xfrm>
              <a:custGeom>
                <a:avLst/>
                <a:gdLst>
                  <a:gd name="T0" fmla="*/ 112 w 116"/>
                  <a:gd name="T1" fmla="*/ 84 h 142"/>
                  <a:gd name="T2" fmla="*/ 103 w 116"/>
                  <a:gd name="T3" fmla="*/ 142 h 142"/>
                  <a:gd name="T4" fmla="*/ 71 w 116"/>
                  <a:gd name="T5" fmla="*/ 142 h 142"/>
                  <a:gd name="T6" fmla="*/ 78 w 116"/>
                  <a:gd name="T7" fmla="*/ 94 h 142"/>
                  <a:gd name="T8" fmla="*/ 64 w 116"/>
                  <a:gd name="T9" fmla="*/ 69 h 142"/>
                  <a:gd name="T10" fmla="*/ 41 w 116"/>
                  <a:gd name="T11" fmla="*/ 81 h 142"/>
                  <a:gd name="T12" fmla="*/ 32 w 116"/>
                  <a:gd name="T13" fmla="*/ 142 h 142"/>
                  <a:gd name="T14" fmla="*/ 0 w 116"/>
                  <a:gd name="T15" fmla="*/ 142 h 142"/>
                  <a:gd name="T16" fmla="*/ 19 w 116"/>
                  <a:gd name="T17" fmla="*/ 6 h 142"/>
                  <a:gd name="T18" fmla="*/ 52 w 116"/>
                  <a:gd name="T19" fmla="*/ 0 h 142"/>
                  <a:gd name="T20" fmla="*/ 44 w 116"/>
                  <a:gd name="T21" fmla="*/ 57 h 142"/>
                  <a:gd name="T22" fmla="*/ 81 w 116"/>
                  <a:gd name="T23" fmla="*/ 42 h 142"/>
                  <a:gd name="T24" fmla="*/ 112 w 116"/>
                  <a:gd name="T25" fmla="*/ 8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42">
                    <a:moveTo>
                      <a:pt x="112" y="84"/>
                    </a:moveTo>
                    <a:cubicBezTo>
                      <a:pt x="103" y="142"/>
                      <a:pt x="103" y="142"/>
                      <a:pt x="103" y="142"/>
                    </a:cubicBezTo>
                    <a:cubicBezTo>
                      <a:pt x="71" y="142"/>
                      <a:pt x="71" y="142"/>
                      <a:pt x="71" y="142"/>
                    </a:cubicBezTo>
                    <a:cubicBezTo>
                      <a:pt x="78" y="94"/>
                      <a:pt x="78" y="94"/>
                      <a:pt x="78" y="94"/>
                    </a:cubicBezTo>
                    <a:cubicBezTo>
                      <a:pt x="80" y="78"/>
                      <a:pt x="76" y="69"/>
                      <a:pt x="64" y="69"/>
                    </a:cubicBezTo>
                    <a:cubicBezTo>
                      <a:pt x="56" y="69"/>
                      <a:pt x="47" y="74"/>
                      <a:pt x="41" y="81"/>
                    </a:cubicBezTo>
                    <a:cubicBezTo>
                      <a:pt x="32" y="142"/>
                      <a:pt x="32" y="142"/>
                      <a:pt x="32" y="14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54" y="47"/>
                      <a:pt x="68" y="42"/>
                      <a:pt x="81" y="42"/>
                    </a:cubicBezTo>
                    <a:cubicBezTo>
                      <a:pt x="101" y="42"/>
                      <a:pt x="116" y="56"/>
                      <a:pt x="112" y="8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D5901644-073E-49CF-B335-D9E2940F204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037550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5 w 115"/>
                  <a:gd name="T3" fmla="*/ 106 h 106"/>
                  <a:gd name="T4" fmla="*/ 5 w 115"/>
                  <a:gd name="T5" fmla="*/ 55 h 106"/>
                  <a:gd name="T6" fmla="*/ 70 w 115"/>
                  <a:gd name="T7" fmla="*/ 0 h 106"/>
                  <a:gd name="T8" fmla="*/ 111 w 115"/>
                  <a:gd name="T9" fmla="*/ 44 h 106"/>
                  <a:gd name="T10" fmla="*/ 106 w 115"/>
                  <a:gd name="T11" fmla="*/ 61 h 106"/>
                  <a:gd name="T12" fmla="*/ 36 w 115"/>
                  <a:gd name="T13" fmla="*/ 61 h 106"/>
                  <a:gd name="T14" fmla="*/ 65 w 115"/>
                  <a:gd name="T15" fmla="*/ 81 h 106"/>
                  <a:gd name="T16" fmla="*/ 98 w 115"/>
                  <a:gd name="T17" fmla="*/ 72 h 106"/>
                  <a:gd name="T18" fmla="*/ 106 w 115"/>
                  <a:gd name="T19" fmla="*/ 88 h 106"/>
                  <a:gd name="T20" fmla="*/ 39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9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4" y="97"/>
                      <a:pt x="76" y="106"/>
                      <a:pt x="55" y="106"/>
                    </a:cubicBezTo>
                    <a:cubicBezTo>
                      <a:pt x="21" y="106"/>
                      <a:pt x="0" y="86"/>
                      <a:pt x="5" y="55"/>
                    </a:cubicBezTo>
                    <a:cubicBezTo>
                      <a:pt x="9" y="24"/>
                      <a:pt x="37" y="0"/>
                      <a:pt x="70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6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5" y="81"/>
                    </a:cubicBezTo>
                    <a:cubicBezTo>
                      <a:pt x="76" y="81"/>
                      <a:pt x="88" y="77"/>
                      <a:pt x="98" y="72"/>
                    </a:cubicBezTo>
                    <a:lnTo>
                      <a:pt x="106" y="88"/>
                    </a:lnTo>
                    <a:close/>
                    <a:moveTo>
                      <a:pt x="39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9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28AD863A-3878-46A6-9FF9-65CBD22292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45513" y="3365501"/>
                <a:ext cx="144463" cy="166688"/>
              </a:xfrm>
              <a:custGeom>
                <a:avLst/>
                <a:gdLst>
                  <a:gd name="T0" fmla="*/ 88 w 88"/>
                  <a:gd name="T1" fmla="*/ 2 h 100"/>
                  <a:gd name="T2" fmla="*/ 84 w 88"/>
                  <a:gd name="T3" fmla="*/ 32 h 100"/>
                  <a:gd name="T4" fmla="*/ 70 w 88"/>
                  <a:gd name="T5" fmla="*/ 30 h 100"/>
                  <a:gd name="T6" fmla="*/ 40 w 88"/>
                  <a:gd name="T7" fmla="*/ 46 h 100"/>
                  <a:gd name="T8" fmla="*/ 32 w 88"/>
                  <a:gd name="T9" fmla="*/ 100 h 100"/>
                  <a:gd name="T10" fmla="*/ 0 w 88"/>
                  <a:gd name="T11" fmla="*/ 100 h 100"/>
                  <a:gd name="T12" fmla="*/ 13 w 88"/>
                  <a:gd name="T13" fmla="*/ 6 h 100"/>
                  <a:gd name="T14" fmla="*/ 45 w 88"/>
                  <a:gd name="T15" fmla="*/ 0 h 100"/>
                  <a:gd name="T16" fmla="*/ 42 w 88"/>
                  <a:gd name="T17" fmla="*/ 22 h 100"/>
                  <a:gd name="T18" fmla="*/ 77 w 88"/>
                  <a:gd name="T19" fmla="*/ 0 h 100"/>
                  <a:gd name="T20" fmla="*/ 88 w 88"/>
                  <a:gd name="T2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8" h="100">
                    <a:moveTo>
                      <a:pt x="88" y="2"/>
                    </a:moveTo>
                    <a:cubicBezTo>
                      <a:pt x="84" y="32"/>
                      <a:pt x="84" y="32"/>
                      <a:pt x="84" y="32"/>
                    </a:cubicBezTo>
                    <a:cubicBezTo>
                      <a:pt x="80" y="31"/>
                      <a:pt x="74" y="30"/>
                      <a:pt x="70" y="30"/>
                    </a:cubicBezTo>
                    <a:cubicBezTo>
                      <a:pt x="56" y="30"/>
                      <a:pt x="47" y="37"/>
                      <a:pt x="40" y="46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52" y="8"/>
                      <a:pt x="65" y="0"/>
                      <a:pt x="77" y="0"/>
                    </a:cubicBezTo>
                    <a:cubicBezTo>
                      <a:pt x="80" y="0"/>
                      <a:pt x="85" y="1"/>
                      <a:pt x="88" y="2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56CE9D4C-B49E-4DD9-9E06-82742ED3D83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389975" y="3363913"/>
                <a:ext cx="190500" cy="176213"/>
              </a:xfrm>
              <a:custGeom>
                <a:avLst/>
                <a:gdLst>
                  <a:gd name="T0" fmla="*/ 106 w 115"/>
                  <a:gd name="T1" fmla="*/ 88 h 106"/>
                  <a:gd name="T2" fmla="*/ 54 w 115"/>
                  <a:gd name="T3" fmla="*/ 106 h 106"/>
                  <a:gd name="T4" fmla="*/ 4 w 115"/>
                  <a:gd name="T5" fmla="*/ 55 h 106"/>
                  <a:gd name="T6" fmla="*/ 69 w 115"/>
                  <a:gd name="T7" fmla="*/ 0 h 106"/>
                  <a:gd name="T8" fmla="*/ 111 w 115"/>
                  <a:gd name="T9" fmla="*/ 44 h 106"/>
                  <a:gd name="T10" fmla="*/ 105 w 115"/>
                  <a:gd name="T11" fmla="*/ 61 h 106"/>
                  <a:gd name="T12" fmla="*/ 36 w 115"/>
                  <a:gd name="T13" fmla="*/ 61 h 106"/>
                  <a:gd name="T14" fmla="*/ 64 w 115"/>
                  <a:gd name="T15" fmla="*/ 81 h 106"/>
                  <a:gd name="T16" fmla="*/ 97 w 115"/>
                  <a:gd name="T17" fmla="*/ 72 h 106"/>
                  <a:gd name="T18" fmla="*/ 106 w 115"/>
                  <a:gd name="T19" fmla="*/ 88 h 106"/>
                  <a:gd name="T20" fmla="*/ 38 w 115"/>
                  <a:gd name="T21" fmla="*/ 40 h 106"/>
                  <a:gd name="T22" fmla="*/ 84 w 115"/>
                  <a:gd name="T23" fmla="*/ 40 h 106"/>
                  <a:gd name="T24" fmla="*/ 66 w 115"/>
                  <a:gd name="T25" fmla="*/ 22 h 106"/>
                  <a:gd name="T26" fmla="*/ 38 w 115"/>
                  <a:gd name="T27" fmla="*/ 4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5" h="106">
                    <a:moveTo>
                      <a:pt x="106" y="88"/>
                    </a:moveTo>
                    <a:cubicBezTo>
                      <a:pt x="93" y="97"/>
                      <a:pt x="75" y="106"/>
                      <a:pt x="54" y="106"/>
                    </a:cubicBezTo>
                    <a:cubicBezTo>
                      <a:pt x="20" y="106"/>
                      <a:pt x="0" y="86"/>
                      <a:pt x="4" y="55"/>
                    </a:cubicBezTo>
                    <a:cubicBezTo>
                      <a:pt x="8" y="24"/>
                      <a:pt x="36" y="0"/>
                      <a:pt x="69" y="0"/>
                    </a:cubicBezTo>
                    <a:cubicBezTo>
                      <a:pt x="98" y="0"/>
                      <a:pt x="115" y="18"/>
                      <a:pt x="111" y="44"/>
                    </a:cubicBezTo>
                    <a:cubicBezTo>
                      <a:pt x="110" y="51"/>
                      <a:pt x="108" y="57"/>
                      <a:pt x="105" y="61"/>
                    </a:cubicBezTo>
                    <a:cubicBezTo>
                      <a:pt x="36" y="61"/>
                      <a:pt x="36" y="61"/>
                      <a:pt x="36" y="61"/>
                    </a:cubicBezTo>
                    <a:cubicBezTo>
                      <a:pt x="38" y="74"/>
                      <a:pt x="48" y="81"/>
                      <a:pt x="64" y="81"/>
                    </a:cubicBezTo>
                    <a:cubicBezTo>
                      <a:pt x="76" y="81"/>
                      <a:pt x="87" y="77"/>
                      <a:pt x="97" y="72"/>
                    </a:cubicBezTo>
                    <a:lnTo>
                      <a:pt x="106" y="88"/>
                    </a:lnTo>
                    <a:close/>
                    <a:moveTo>
                      <a:pt x="38" y="40"/>
                    </a:moveTo>
                    <a:cubicBezTo>
                      <a:pt x="84" y="40"/>
                      <a:pt x="84" y="40"/>
                      <a:pt x="84" y="40"/>
                    </a:cubicBezTo>
                    <a:cubicBezTo>
                      <a:pt x="84" y="29"/>
                      <a:pt x="78" y="22"/>
                      <a:pt x="66" y="22"/>
                    </a:cubicBezTo>
                    <a:cubicBezTo>
                      <a:pt x="56" y="22"/>
                      <a:pt x="44" y="28"/>
                      <a:pt x="38" y="40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F3DC9FD0-B595-4F5F-892D-09A4772FC2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78900" y="3370263"/>
                <a:ext cx="184150" cy="228600"/>
              </a:xfrm>
              <a:custGeom>
                <a:avLst/>
                <a:gdLst>
                  <a:gd name="T0" fmla="*/ 116 w 116"/>
                  <a:gd name="T1" fmla="*/ 0 h 144"/>
                  <a:gd name="T2" fmla="*/ 36 w 116"/>
                  <a:gd name="T3" fmla="*/ 144 h 144"/>
                  <a:gd name="T4" fmla="*/ 4 w 116"/>
                  <a:gd name="T5" fmla="*/ 144 h 144"/>
                  <a:gd name="T6" fmla="*/ 29 w 116"/>
                  <a:gd name="T7" fmla="*/ 102 h 144"/>
                  <a:gd name="T8" fmla="*/ 0 w 116"/>
                  <a:gd name="T9" fmla="*/ 0 h 144"/>
                  <a:gd name="T10" fmla="*/ 35 w 116"/>
                  <a:gd name="T11" fmla="*/ 0 h 144"/>
                  <a:gd name="T12" fmla="*/ 51 w 116"/>
                  <a:gd name="T13" fmla="*/ 64 h 144"/>
                  <a:gd name="T14" fmla="*/ 84 w 116"/>
                  <a:gd name="T15" fmla="*/ 0 h 144"/>
                  <a:gd name="T16" fmla="*/ 116 w 116"/>
                  <a:gd name="T17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6" h="144">
                    <a:moveTo>
                      <a:pt x="116" y="0"/>
                    </a:moveTo>
                    <a:lnTo>
                      <a:pt x="36" y="144"/>
                    </a:lnTo>
                    <a:lnTo>
                      <a:pt x="4" y="144"/>
                    </a:lnTo>
                    <a:lnTo>
                      <a:pt x="29" y="102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1" y="64"/>
                    </a:lnTo>
                    <a:lnTo>
                      <a:pt x="84" y="0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A0C470DD-7BA1-4A1D-A699-2E17DB6D2F3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85828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2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9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4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Freeform 17">
                <a:extLst>
                  <a:ext uri="{FF2B5EF4-FFF2-40B4-BE49-F238E27FC236}">
                    <a16:creationId xmlns:a16="http://schemas.microsoft.com/office/drawing/2014/main" id="{A7BBE440-5333-4A7A-8A9F-325E010467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8950" y="3365501"/>
                <a:ext cx="190500" cy="171450"/>
              </a:xfrm>
              <a:custGeom>
                <a:avLst/>
                <a:gdLst>
                  <a:gd name="T0" fmla="*/ 115 w 115"/>
                  <a:gd name="T1" fmla="*/ 0 h 103"/>
                  <a:gd name="T2" fmla="*/ 101 w 115"/>
                  <a:gd name="T3" fmla="*/ 100 h 103"/>
                  <a:gd name="T4" fmla="*/ 70 w 115"/>
                  <a:gd name="T5" fmla="*/ 100 h 103"/>
                  <a:gd name="T6" fmla="*/ 72 w 115"/>
                  <a:gd name="T7" fmla="*/ 88 h 103"/>
                  <a:gd name="T8" fmla="*/ 35 w 115"/>
                  <a:gd name="T9" fmla="*/ 103 h 103"/>
                  <a:gd name="T10" fmla="*/ 4 w 115"/>
                  <a:gd name="T11" fmla="*/ 61 h 103"/>
                  <a:gd name="T12" fmla="*/ 12 w 115"/>
                  <a:gd name="T13" fmla="*/ 6 h 103"/>
                  <a:gd name="T14" fmla="*/ 45 w 115"/>
                  <a:gd name="T15" fmla="*/ 0 h 103"/>
                  <a:gd name="T16" fmla="*/ 38 w 115"/>
                  <a:gd name="T17" fmla="*/ 51 h 103"/>
                  <a:gd name="T18" fmla="*/ 51 w 115"/>
                  <a:gd name="T19" fmla="*/ 77 h 103"/>
                  <a:gd name="T20" fmla="*/ 74 w 115"/>
                  <a:gd name="T21" fmla="*/ 66 h 103"/>
                  <a:gd name="T22" fmla="*/ 82 w 115"/>
                  <a:gd name="T23" fmla="*/ 6 h 103"/>
                  <a:gd name="T24" fmla="*/ 115 w 115"/>
                  <a:gd name="T25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103">
                    <a:moveTo>
                      <a:pt x="115" y="0"/>
                    </a:moveTo>
                    <a:cubicBezTo>
                      <a:pt x="101" y="100"/>
                      <a:pt x="101" y="100"/>
                      <a:pt x="101" y="100"/>
                    </a:cubicBezTo>
                    <a:cubicBezTo>
                      <a:pt x="70" y="100"/>
                      <a:pt x="70" y="100"/>
                      <a:pt x="70" y="100"/>
                    </a:cubicBezTo>
                    <a:cubicBezTo>
                      <a:pt x="72" y="88"/>
                      <a:pt x="72" y="88"/>
                      <a:pt x="72" y="88"/>
                    </a:cubicBezTo>
                    <a:cubicBezTo>
                      <a:pt x="62" y="98"/>
                      <a:pt x="48" y="103"/>
                      <a:pt x="35" y="103"/>
                    </a:cubicBezTo>
                    <a:cubicBezTo>
                      <a:pt x="14" y="103"/>
                      <a:pt x="0" y="89"/>
                      <a:pt x="4" y="61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38" y="51"/>
                      <a:pt x="38" y="51"/>
                      <a:pt x="38" y="51"/>
                    </a:cubicBezTo>
                    <a:cubicBezTo>
                      <a:pt x="35" y="68"/>
                      <a:pt x="40" y="77"/>
                      <a:pt x="51" y="77"/>
                    </a:cubicBezTo>
                    <a:cubicBezTo>
                      <a:pt x="59" y="77"/>
                      <a:pt x="67" y="73"/>
                      <a:pt x="74" y="66"/>
                    </a:cubicBezTo>
                    <a:cubicBezTo>
                      <a:pt x="82" y="6"/>
                      <a:pt x="82" y="6"/>
                      <a:pt x="82" y="6"/>
                    </a:cubicBez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18">
                <a:extLst>
                  <a:ext uri="{FF2B5EF4-FFF2-40B4-BE49-F238E27FC236}">
                    <a16:creationId xmlns:a16="http://schemas.microsoft.com/office/drawing/2014/main" id="{FCEF6A2D-3FE4-4505-99B6-92D4AE0EA9A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353588" y="3365501"/>
                <a:ext cx="233363" cy="236538"/>
              </a:xfrm>
              <a:custGeom>
                <a:avLst/>
                <a:gdLst>
                  <a:gd name="T0" fmla="*/ 138 w 141"/>
                  <a:gd name="T1" fmla="*/ 30 h 143"/>
                  <a:gd name="T2" fmla="*/ 114 w 141"/>
                  <a:gd name="T3" fmla="*/ 29 h 143"/>
                  <a:gd name="T4" fmla="*/ 117 w 141"/>
                  <a:gd name="T5" fmla="*/ 47 h 143"/>
                  <a:gd name="T6" fmla="*/ 59 w 141"/>
                  <a:gd name="T7" fmla="*/ 88 h 143"/>
                  <a:gd name="T8" fmla="*/ 54 w 141"/>
                  <a:gd name="T9" fmla="*/ 88 h 143"/>
                  <a:gd name="T10" fmla="*/ 35 w 141"/>
                  <a:gd name="T11" fmla="*/ 113 h 143"/>
                  <a:gd name="T12" fmla="*/ 84 w 141"/>
                  <a:gd name="T13" fmla="*/ 98 h 143"/>
                  <a:gd name="T14" fmla="*/ 118 w 141"/>
                  <a:gd name="T15" fmla="*/ 139 h 143"/>
                  <a:gd name="T16" fmla="*/ 84 w 141"/>
                  <a:gd name="T17" fmla="*/ 143 h 143"/>
                  <a:gd name="T18" fmla="*/ 66 w 141"/>
                  <a:gd name="T19" fmla="*/ 125 h 143"/>
                  <a:gd name="T20" fmla="*/ 18 w 141"/>
                  <a:gd name="T21" fmla="*/ 139 h 143"/>
                  <a:gd name="T22" fmla="*/ 0 w 141"/>
                  <a:gd name="T23" fmla="*/ 127 h 143"/>
                  <a:gd name="T24" fmla="*/ 27 w 141"/>
                  <a:gd name="T25" fmla="*/ 79 h 143"/>
                  <a:gd name="T26" fmla="*/ 11 w 141"/>
                  <a:gd name="T27" fmla="*/ 45 h 143"/>
                  <a:gd name="T28" fmla="*/ 71 w 141"/>
                  <a:gd name="T29" fmla="*/ 0 h 143"/>
                  <a:gd name="T30" fmla="*/ 91 w 141"/>
                  <a:gd name="T31" fmla="*/ 3 h 143"/>
                  <a:gd name="T32" fmla="*/ 141 w 141"/>
                  <a:gd name="T33" fmla="*/ 3 h 143"/>
                  <a:gd name="T34" fmla="*/ 138 w 141"/>
                  <a:gd name="T35" fmla="*/ 30 h 143"/>
                  <a:gd name="T36" fmla="*/ 87 w 141"/>
                  <a:gd name="T37" fmla="*/ 45 h 143"/>
                  <a:gd name="T38" fmla="*/ 67 w 141"/>
                  <a:gd name="T39" fmla="*/ 23 h 143"/>
                  <a:gd name="T40" fmla="*/ 42 w 141"/>
                  <a:gd name="T41" fmla="*/ 44 h 143"/>
                  <a:gd name="T42" fmla="*/ 62 w 141"/>
                  <a:gd name="T43" fmla="*/ 66 h 143"/>
                  <a:gd name="T44" fmla="*/ 87 w 141"/>
                  <a:gd name="T45" fmla="*/ 45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1" h="143">
                    <a:moveTo>
                      <a:pt x="138" y="30"/>
                    </a:moveTo>
                    <a:cubicBezTo>
                      <a:pt x="114" y="29"/>
                      <a:pt x="114" y="29"/>
                      <a:pt x="114" y="29"/>
                    </a:cubicBezTo>
                    <a:cubicBezTo>
                      <a:pt x="117" y="34"/>
                      <a:pt x="118" y="40"/>
                      <a:pt x="117" y="47"/>
                    </a:cubicBezTo>
                    <a:cubicBezTo>
                      <a:pt x="114" y="70"/>
                      <a:pt x="90" y="88"/>
                      <a:pt x="59" y="88"/>
                    </a:cubicBezTo>
                    <a:cubicBezTo>
                      <a:pt x="58" y="88"/>
                      <a:pt x="56" y="88"/>
                      <a:pt x="54" y="88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49" y="105"/>
                      <a:pt x="67" y="98"/>
                      <a:pt x="84" y="98"/>
                    </a:cubicBezTo>
                    <a:cubicBezTo>
                      <a:pt x="102" y="98"/>
                      <a:pt x="120" y="106"/>
                      <a:pt x="118" y="139"/>
                    </a:cubicBezTo>
                    <a:cubicBezTo>
                      <a:pt x="84" y="143"/>
                      <a:pt x="84" y="143"/>
                      <a:pt x="84" y="143"/>
                    </a:cubicBezTo>
                    <a:cubicBezTo>
                      <a:pt x="84" y="128"/>
                      <a:pt x="77" y="125"/>
                      <a:pt x="66" y="125"/>
                    </a:cubicBezTo>
                    <a:cubicBezTo>
                      <a:pt x="53" y="125"/>
                      <a:pt x="34" y="130"/>
                      <a:pt x="18" y="139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27" y="79"/>
                      <a:pt x="27" y="79"/>
                      <a:pt x="27" y="79"/>
                    </a:cubicBezTo>
                    <a:cubicBezTo>
                      <a:pt x="15" y="72"/>
                      <a:pt x="9" y="59"/>
                      <a:pt x="11" y="45"/>
                    </a:cubicBezTo>
                    <a:cubicBezTo>
                      <a:pt x="15" y="21"/>
                      <a:pt x="40" y="0"/>
                      <a:pt x="71" y="0"/>
                    </a:cubicBezTo>
                    <a:cubicBezTo>
                      <a:pt x="78" y="0"/>
                      <a:pt x="85" y="1"/>
                      <a:pt x="91" y="3"/>
                    </a:cubicBezTo>
                    <a:cubicBezTo>
                      <a:pt x="141" y="3"/>
                      <a:pt x="141" y="3"/>
                      <a:pt x="141" y="3"/>
                    </a:cubicBezTo>
                    <a:lnTo>
                      <a:pt x="138" y="30"/>
                    </a:lnTo>
                    <a:close/>
                    <a:moveTo>
                      <a:pt x="87" y="45"/>
                    </a:moveTo>
                    <a:cubicBezTo>
                      <a:pt x="89" y="31"/>
                      <a:pt x="79" y="23"/>
                      <a:pt x="67" y="23"/>
                    </a:cubicBezTo>
                    <a:cubicBezTo>
                      <a:pt x="55" y="23"/>
                      <a:pt x="44" y="31"/>
                      <a:pt x="42" y="44"/>
                    </a:cubicBezTo>
                    <a:cubicBezTo>
                      <a:pt x="40" y="57"/>
                      <a:pt x="50" y="66"/>
                      <a:pt x="62" y="66"/>
                    </a:cubicBezTo>
                    <a:cubicBezTo>
                      <a:pt x="74" y="66"/>
                      <a:pt x="85" y="58"/>
                      <a:pt x="87" y="45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Freeform 19">
                <a:extLst>
                  <a:ext uri="{FF2B5EF4-FFF2-40B4-BE49-F238E27FC236}">
                    <a16:creationId xmlns:a16="http://schemas.microsoft.com/office/drawing/2014/main" id="{8079612B-5E1D-4A6C-8648-3DABD0AA5B9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588538" y="3363913"/>
                <a:ext cx="203200" cy="176213"/>
              </a:xfrm>
              <a:custGeom>
                <a:avLst/>
                <a:gdLst>
                  <a:gd name="T0" fmla="*/ 4 w 123"/>
                  <a:gd name="T1" fmla="*/ 55 h 106"/>
                  <a:gd name="T2" fmla="*/ 70 w 123"/>
                  <a:gd name="T3" fmla="*/ 0 h 106"/>
                  <a:gd name="T4" fmla="*/ 119 w 123"/>
                  <a:gd name="T5" fmla="*/ 51 h 106"/>
                  <a:gd name="T6" fmla="*/ 53 w 123"/>
                  <a:gd name="T7" fmla="*/ 106 h 106"/>
                  <a:gd name="T8" fmla="*/ 4 w 123"/>
                  <a:gd name="T9" fmla="*/ 55 h 106"/>
                  <a:gd name="T10" fmla="*/ 86 w 123"/>
                  <a:gd name="T11" fmla="*/ 54 h 106"/>
                  <a:gd name="T12" fmla="*/ 65 w 123"/>
                  <a:gd name="T13" fmla="*/ 24 h 106"/>
                  <a:gd name="T14" fmla="*/ 38 w 123"/>
                  <a:gd name="T15" fmla="*/ 52 h 106"/>
                  <a:gd name="T16" fmla="*/ 59 w 123"/>
                  <a:gd name="T17" fmla="*/ 82 h 106"/>
                  <a:gd name="T18" fmla="*/ 86 w 123"/>
                  <a:gd name="T19" fmla="*/ 5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06">
                    <a:moveTo>
                      <a:pt x="4" y="55"/>
                    </a:moveTo>
                    <a:cubicBezTo>
                      <a:pt x="9" y="24"/>
                      <a:pt x="37" y="0"/>
                      <a:pt x="70" y="0"/>
                    </a:cubicBezTo>
                    <a:cubicBezTo>
                      <a:pt x="102" y="0"/>
                      <a:pt x="123" y="22"/>
                      <a:pt x="119" y="51"/>
                    </a:cubicBezTo>
                    <a:cubicBezTo>
                      <a:pt x="115" y="82"/>
                      <a:pt x="87" y="106"/>
                      <a:pt x="53" y="106"/>
                    </a:cubicBezTo>
                    <a:cubicBezTo>
                      <a:pt x="21" y="106"/>
                      <a:pt x="0" y="84"/>
                      <a:pt x="4" y="55"/>
                    </a:cubicBezTo>
                    <a:close/>
                    <a:moveTo>
                      <a:pt x="86" y="54"/>
                    </a:moveTo>
                    <a:cubicBezTo>
                      <a:pt x="88" y="36"/>
                      <a:pt x="80" y="24"/>
                      <a:pt x="65" y="24"/>
                    </a:cubicBezTo>
                    <a:cubicBezTo>
                      <a:pt x="50" y="24"/>
                      <a:pt x="40" y="35"/>
                      <a:pt x="38" y="52"/>
                    </a:cubicBezTo>
                    <a:cubicBezTo>
                      <a:pt x="35" y="70"/>
                      <a:pt x="43" y="82"/>
                      <a:pt x="59" y="82"/>
                    </a:cubicBezTo>
                    <a:cubicBezTo>
                      <a:pt x="73" y="82"/>
                      <a:pt x="83" y="71"/>
                      <a:pt x="86" y="54"/>
                    </a:cubicBezTo>
                    <a:close/>
                  </a:path>
                </a:pathLst>
              </a:custGeom>
              <a:solidFill>
                <a:srgbClr val="1E1E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494256FC-0E15-4617-9D2E-030BFAC768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" name="Rectangle 21">
              <a:extLst>
                <a:ext uri="{FF2B5EF4-FFF2-40B4-BE49-F238E27FC236}">
                  <a16:creationId xmlns:a16="http://schemas.microsoft.com/office/drawing/2014/main" id="{B762E64D-2C26-4E04-AC2F-2ECB3B9B6E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" name="Oval 22">
              <a:extLst>
                <a:ext uri="{FF2B5EF4-FFF2-40B4-BE49-F238E27FC236}">
                  <a16:creationId xmlns:a16="http://schemas.microsoft.com/office/drawing/2014/main" id="{017AE8D4-8CC8-4372-8A5F-5A6F162E48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" name="Freeform 23">
              <a:extLst>
                <a:ext uri="{FF2B5EF4-FFF2-40B4-BE49-F238E27FC236}">
                  <a16:creationId xmlns:a16="http://schemas.microsoft.com/office/drawing/2014/main" id="{A9CE9D20-3052-4EAE-A220-A0B12F9C5C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" name="Freeform 24">
              <a:extLst>
                <a:ext uri="{FF2B5EF4-FFF2-40B4-BE49-F238E27FC236}">
                  <a16:creationId xmlns:a16="http://schemas.microsoft.com/office/drawing/2014/main" id="{17DEABE0-A6BE-4E51-9883-2DA9DBF149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" name="Freeform 25">
              <a:extLst>
                <a:ext uri="{FF2B5EF4-FFF2-40B4-BE49-F238E27FC236}">
                  <a16:creationId xmlns:a16="http://schemas.microsoft.com/office/drawing/2014/main" id="{E83D6F8E-1F4F-45AB-97B9-4B0F1AC54F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" name="Freeform 26">
              <a:extLst>
                <a:ext uri="{FF2B5EF4-FFF2-40B4-BE49-F238E27FC236}">
                  <a16:creationId xmlns:a16="http://schemas.microsoft.com/office/drawing/2014/main" id="{83D3D72E-957C-4A08-A011-E71AD15872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80527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no descrip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7"/>
            <a:ext cx="4689764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400" y="3712110"/>
            <a:ext cx="4689452" cy="415782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31066FA-31D4-4AC8-BAAF-B17705FB0C48}"/>
              </a:ext>
            </a:extLst>
          </p:cNvPr>
          <p:cNvGrpSpPr/>
          <p:nvPr userDrawn="1"/>
        </p:nvGrpSpPr>
        <p:grpSpPr>
          <a:xfrm>
            <a:off x="10648114" y="5310074"/>
            <a:ext cx="1150191" cy="1151372"/>
            <a:chOff x="10648109" y="5310073"/>
            <a:chExt cx="1150191" cy="1151372"/>
          </a:xfrm>
        </p:grpSpPr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6BEEC76A-8238-4CD5-8D17-24DBA42765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" name="Rectangle 21">
              <a:extLst>
                <a:ext uri="{FF2B5EF4-FFF2-40B4-BE49-F238E27FC236}">
                  <a16:creationId xmlns:a16="http://schemas.microsoft.com/office/drawing/2014/main" id="{CDD21A8E-4467-4359-803F-A1888301B1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" name="Oval 22">
              <a:extLst>
                <a:ext uri="{FF2B5EF4-FFF2-40B4-BE49-F238E27FC236}">
                  <a16:creationId xmlns:a16="http://schemas.microsoft.com/office/drawing/2014/main" id="{D4981D9A-AF1F-4BCA-9B0A-8EDAA13CF7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" name="Freeform 23">
              <a:extLst>
                <a:ext uri="{FF2B5EF4-FFF2-40B4-BE49-F238E27FC236}">
                  <a16:creationId xmlns:a16="http://schemas.microsoft.com/office/drawing/2014/main" id="{B2923068-CEB3-4B77-854B-C7ECE6714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" name="Freeform 24">
              <a:extLst>
                <a:ext uri="{FF2B5EF4-FFF2-40B4-BE49-F238E27FC236}">
                  <a16:creationId xmlns:a16="http://schemas.microsoft.com/office/drawing/2014/main" id="{CB809499-1E76-4281-BF13-BF621735E7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" name="Freeform 25">
              <a:extLst>
                <a:ext uri="{FF2B5EF4-FFF2-40B4-BE49-F238E27FC236}">
                  <a16:creationId xmlns:a16="http://schemas.microsoft.com/office/drawing/2014/main" id="{53A09255-B767-4E7D-8920-A68C296189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" name="Freeform 26">
              <a:extLst>
                <a:ext uri="{FF2B5EF4-FFF2-40B4-BE49-F238E27FC236}">
                  <a16:creationId xmlns:a16="http://schemas.microsoft.com/office/drawing/2014/main" id="{5505D8A1-AB63-4BF0-A193-8E3087CA6E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76577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etti white on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FF01BD-A841-4558-B89B-DE8A3BFC21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6497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etti yellow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DE019DD-5C2A-494A-A19B-86FCB5F1F6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9052" y="0"/>
            <a:ext cx="1220105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7674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5" y="6282955"/>
            <a:ext cx="12192000" cy="575049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7775" y="6435619"/>
            <a:ext cx="889551" cy="365125"/>
          </a:xfrm>
          <a:prstGeom prst="rect">
            <a:avLst/>
          </a:prstGeom>
        </p:spPr>
        <p:txBody>
          <a:bodyPr/>
          <a:lstStyle>
            <a:lvl1pPr algn="r">
              <a:lnSpc>
                <a:spcPct val="50000"/>
              </a:lnSpc>
              <a:defRPr sz="2133">
                <a:solidFill>
                  <a:srgbClr val="FFB400"/>
                </a:solidFill>
              </a:defRPr>
            </a:lvl1pPr>
          </a:lstStyle>
          <a:p>
            <a:fld id="{72C48CC9-F763-3849-A831-5265077E017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5" y="575053"/>
            <a:ext cx="12192000" cy="575049"/>
          </a:xfrm>
          <a:prstGeom prst="rect">
            <a:avLst/>
          </a:prstGeom>
          <a:solidFill>
            <a:srgbClr val="373737">
              <a:alpha val="6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5" y="5"/>
            <a:ext cx="12192000" cy="575049"/>
          </a:xfrm>
          <a:prstGeom prst="rect">
            <a:avLst/>
          </a:prstGeom>
          <a:solidFill>
            <a:srgbClr val="3737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8602" y="526496"/>
            <a:ext cx="5561143" cy="58569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>
              <a:defRPr sz="3200" b="0" i="0">
                <a:ln>
                  <a:noFill/>
                </a:ln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353" y="5328"/>
            <a:ext cx="569725" cy="569725"/>
          </a:xfrm>
          <a:prstGeom prst="rect">
            <a:avLst/>
          </a:prstGeom>
        </p:spPr>
      </p:pic>
      <p:sp>
        <p:nvSpPr>
          <p:cNvPr id="8" name="Text Placeholder 2"/>
          <p:cNvSpPr txBox="1">
            <a:spLocks/>
          </p:cNvSpPr>
          <p:nvPr userDrawn="1"/>
        </p:nvSpPr>
        <p:spPr>
          <a:xfrm>
            <a:off x="468602" y="6436175"/>
            <a:ext cx="2350795" cy="194821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67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/>
                <a:cs typeface="Myriad Pro"/>
              </a:rPr>
              <a:t>Authors: XXXX XXXX. XXXX XXXX</a:t>
            </a:r>
          </a:p>
        </p:txBody>
      </p:sp>
    </p:spTree>
    <p:extLst>
      <p:ext uri="{BB962C8B-B14F-4D97-AF65-F5344CB8AC3E}">
        <p14:creationId xmlns:p14="http://schemas.microsoft.com/office/powerpoint/2010/main" val="34347613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" y="6282955"/>
            <a:ext cx="12192000" cy="575049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67775" y="6436236"/>
            <a:ext cx="889551" cy="365125"/>
          </a:xfrm>
          <a:prstGeom prst="rect">
            <a:avLst/>
          </a:prstGeom>
        </p:spPr>
        <p:txBody>
          <a:bodyPr/>
          <a:lstStyle>
            <a:lvl1pPr algn="r">
              <a:lnSpc>
                <a:spcPct val="50000"/>
              </a:lnSpc>
              <a:defRPr sz="2133">
                <a:solidFill>
                  <a:srgbClr val="FFB400"/>
                </a:solidFill>
              </a:defRPr>
            </a:lvl1pPr>
          </a:lstStyle>
          <a:p>
            <a:fld id="{72C48CC9-F763-3849-A831-5265077E017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5" y="575053"/>
            <a:ext cx="12192000" cy="575049"/>
          </a:xfrm>
          <a:prstGeom prst="rect">
            <a:avLst/>
          </a:prstGeom>
          <a:solidFill>
            <a:srgbClr val="373737">
              <a:alpha val="6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" y="5"/>
            <a:ext cx="12192000" cy="575049"/>
          </a:xfrm>
          <a:prstGeom prst="rect">
            <a:avLst/>
          </a:prstGeom>
          <a:solidFill>
            <a:srgbClr val="3737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289056" y="1917704"/>
            <a:ext cx="8221133" cy="3524251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68602" y="526496"/>
            <a:ext cx="5561143" cy="58569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>
              <a:defRPr sz="3200" b="0" i="0">
                <a:ln>
                  <a:noFill/>
                </a:ln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353" y="5328"/>
            <a:ext cx="569725" cy="569725"/>
          </a:xfrm>
          <a:prstGeom prst="rect">
            <a:avLst/>
          </a:prstGeom>
        </p:spPr>
      </p:pic>
      <p:sp>
        <p:nvSpPr>
          <p:cNvPr id="11" name="Text Placeholder 2"/>
          <p:cNvSpPr txBox="1">
            <a:spLocks/>
          </p:cNvSpPr>
          <p:nvPr userDrawn="1"/>
        </p:nvSpPr>
        <p:spPr>
          <a:xfrm>
            <a:off x="468602" y="6436175"/>
            <a:ext cx="2350795" cy="194821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67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/>
                <a:cs typeface="Myriad Pro"/>
              </a:rPr>
              <a:t>Authors: XXXX XXXX. XXXX XXXX</a:t>
            </a:r>
          </a:p>
        </p:txBody>
      </p:sp>
    </p:spTree>
    <p:extLst>
      <p:ext uri="{BB962C8B-B14F-4D97-AF65-F5344CB8AC3E}">
        <p14:creationId xmlns:p14="http://schemas.microsoft.com/office/powerpoint/2010/main" val="139342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302872" y="351804"/>
            <a:ext cx="10345781" cy="341973"/>
          </a:xfrm>
          <a:prstGeom prst="rect">
            <a:avLst/>
          </a:prstGeom>
        </p:spPr>
        <p:txBody>
          <a:bodyPr/>
          <a:lstStyle>
            <a:lvl1pPr>
              <a:defRPr sz="2167" b="0">
                <a:latin typeface="Century Gothic" panose="020B0502020202020204" pitchFamily="34" charset="0"/>
              </a:defRPr>
            </a:lvl1pPr>
          </a:lstStyle>
          <a:p>
            <a:r>
              <a:rPr lang="en-ZA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0580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80122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44876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67A941-4CD9-483B-9B40-1DBD6AF6D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CA9566-74B4-4C05-8F66-AE8E7C7C91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F60A8A-1063-49F6-BC98-DB1575CA73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E38329-4E2E-4EB5-8D6D-C78E2016F5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177729-73DB-4A0C-84B1-DA078A58CB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7D40BB-01E4-40D5-9349-D94DA912B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234927-F6F3-4C0E-80CB-B6D87A9BA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1D5827-0C70-4FBC-A38B-8C376F2BF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3687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637765"/>
            <a:ext cx="9000000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066038D-9868-47CA-B847-A00E191121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27112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63EE5EB-3ACD-4F80-836A-DBAE1512B2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3A01C11-47C7-491B-9C74-DCF6841DB9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6" y="1911350"/>
            <a:ext cx="11404600" cy="4073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7963" marR="0" indent="-2079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 lang="en-US" dirty="0">
                <a:latin typeface="Calibri" pitchFamily="34" charset="0"/>
              </a:defRPr>
            </a:lvl1pPr>
            <a:lvl2pPr marL="361950" marR="0" indent="-117475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dirty="0">
                <a:latin typeface="Calibri" pitchFamily="34" charset="0"/>
              </a:defRPr>
            </a:lvl2pPr>
            <a:lvl3pPr marL="533400" marR="0" indent="-180975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dirty="0">
                <a:latin typeface="Calibri" pitchFamily="34" charset="0"/>
              </a:defRPr>
            </a:lvl3pPr>
            <a:lvl4pPr marL="679450" marR="0" indent="-16351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dirty="0">
                <a:latin typeface="Calibri" pitchFamily="34" charset="0"/>
              </a:defRPr>
            </a:lvl4pPr>
            <a:lvl5pPr marL="815975" marR="0" indent="-1524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dirty="0">
                <a:latin typeface="Calibri" pitchFamily="34" charset="0"/>
              </a:defRPr>
            </a:lvl5pPr>
          </a:lstStyle>
          <a:p>
            <a:pPr marL="207963" marR="0" lvl="0" indent="-2079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</a:t>
            </a:r>
          </a:p>
          <a:p>
            <a:pPr marL="361950" marR="0" lvl="1" indent="-117475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533400" marR="0" lvl="2" indent="-180975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679450" marR="0" lvl="3" indent="-16351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815975" marR="0" lvl="4" indent="-1524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0430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68760C-AE70-4216-841A-9C9D8CBADA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7" y="1911350"/>
            <a:ext cx="5506636" cy="4073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D6865CD-40DC-4515-AB9F-1BD5998E97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1667" y="1911350"/>
            <a:ext cx="5506636" cy="4073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B032693-6297-4768-96B7-786BB09915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677375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637765"/>
            <a:ext cx="9000000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82CC0E3-C737-461B-B4F5-DD460CE8E8EB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393706" y="2333626"/>
            <a:ext cx="11404600" cy="36512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tab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4EE004D-1AF6-41A3-BF99-D3478A36E5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3479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ab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637765"/>
            <a:ext cx="9000000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82CC0E3-C737-461B-B4F5-DD460CE8E8EB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393706" y="2333626"/>
            <a:ext cx="5505450" cy="36512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tab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D744A32-961D-4C16-A06B-7BF0BC1954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2856" y="2333626"/>
            <a:ext cx="5505451" cy="36512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02507DB-AB33-4705-A31B-B515343E35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72479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637765"/>
            <a:ext cx="9000000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D744A32-961D-4C16-A06B-7BF0BC1954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2856" y="2333626"/>
            <a:ext cx="5505451" cy="36512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DD850A-60D2-4D3F-9FCF-D254D05EFE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2519" y="2333626"/>
            <a:ext cx="5505451" cy="36512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293FB2A-64E9-432B-B40E-A3376F4D18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10973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tex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637765"/>
            <a:ext cx="9000000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DD850A-60D2-4D3F-9FCF-D254D05EFE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2519" y="2706988"/>
            <a:ext cx="5505451" cy="32778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3435BF4-6573-49A4-9197-93800C2322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6" y="2333637"/>
            <a:ext cx="5505450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50B6B3-E441-4FD9-AE82-C820741F07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2857" y="2706988"/>
            <a:ext cx="5505451" cy="32778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938B5D1-2F17-44BA-AFFC-4E87C818E5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4046" y="2333637"/>
            <a:ext cx="5505450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0861B9-523A-4A5C-8ADA-0C9C052DF19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78784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tex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DD850A-60D2-4D3F-9FCF-D254D05EFE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2519" y="2381063"/>
            <a:ext cx="5505451" cy="36038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3435BF4-6573-49A4-9197-93800C2322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6" y="2052979"/>
            <a:ext cx="5505450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50B6B3-E441-4FD9-AE82-C820741F07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2857" y="2381063"/>
            <a:ext cx="5505451" cy="36038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938B5D1-2F17-44BA-AFFC-4E87C818E5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4046" y="2052979"/>
            <a:ext cx="5505450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69EBBA7-C046-4BE7-AB39-DDF7235F98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06344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tex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DD850A-60D2-4D3F-9FCF-D254D05EFE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2522" y="2381063"/>
            <a:ext cx="3536689" cy="36038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3435BF4-6573-49A4-9197-93800C2322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2052979"/>
            <a:ext cx="3536688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848A564-152B-4E69-8849-4989C104F1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31231" y="2381063"/>
            <a:ext cx="3536689" cy="36038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8F52A8B-D6AF-4C50-9ED1-4A3F98E087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2411" y="2052979"/>
            <a:ext cx="3536688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3403B82D-F9A3-4214-8AF4-4ACD66CA28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60434" y="2381063"/>
            <a:ext cx="3536689" cy="36038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D2BCE-64A3-4500-B60C-ED207BAB0C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1612" y="2052979"/>
            <a:ext cx="3536688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E2270A8-9AEA-4BD1-AFDF-4B1BF5AC07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40162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text with titles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1DD850A-60D2-4D3F-9FCF-D254D05EFE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2522" y="2381063"/>
            <a:ext cx="3536689" cy="36038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3435BF4-6573-49A4-9197-93800C2322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0" y="2052979"/>
            <a:ext cx="3536688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848A564-152B-4E69-8849-4989C104F1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31231" y="2381063"/>
            <a:ext cx="3536689" cy="36038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8F52A8B-D6AF-4C50-9ED1-4A3F98E087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2411" y="2052979"/>
            <a:ext cx="3536688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E3590C-26E8-47D0-9EC4-5011C5F6482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59768" y="2052976"/>
            <a:ext cx="3538537" cy="3932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90DDB2E-FD5E-41F2-9F6C-04B02E5288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1936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00155F-4E45-44E9-9B1E-1B3B888B0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63CFAB-469F-4DCA-AB74-CF7D3B52B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294048-893B-4818-A441-6B5247459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E97DF0-EF3C-45A8-B25E-1FCF9C29B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5718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637765"/>
            <a:ext cx="9000000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6" y="2333624"/>
            <a:ext cx="5505450" cy="36512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5C597E66-14C3-4694-B0FA-38C1DD74FC10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292855" y="2333624"/>
            <a:ext cx="5505450" cy="36512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8F39C07-0AAB-4783-AA2F-3CFBD0D986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67141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graph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637765"/>
            <a:ext cx="9000000" cy="268816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GB" sz="1600" i="1" dirty="0"/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6" y="2333626"/>
            <a:ext cx="5505450" cy="22745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5C597E66-14C3-4694-B0FA-38C1DD74FC10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292855" y="2333626"/>
            <a:ext cx="5505450" cy="22745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2515" y="4817770"/>
            <a:ext cx="5505450" cy="1167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15262FB-F72B-498B-B79F-9B59916EDB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2853" y="4817770"/>
            <a:ext cx="5505450" cy="1167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F6AD210-824E-4285-95FC-0FCF991755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02483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graph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637768"/>
            <a:ext cx="9000000" cy="268816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GB" sz="1600" i="1" dirty="0"/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8" y="2333626"/>
            <a:ext cx="3535503" cy="22745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2522" y="4817770"/>
            <a:ext cx="3535503" cy="1167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DF131114-5CBC-41B1-985B-047B23366532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329442" y="2333626"/>
            <a:ext cx="3535503" cy="22745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C12BF7B-ABBE-4780-A79E-3FCF62A44B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8254" y="4817770"/>
            <a:ext cx="3535503" cy="1167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68D16368-8CD5-4861-A780-3CE42EA22692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2805" y="2333626"/>
            <a:ext cx="3535503" cy="22745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D3E05BF-B74A-4ACF-8018-D8A5DE7942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1619" y="4817770"/>
            <a:ext cx="3535503" cy="1167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A1D3DB6-E479-4DFB-AFA7-A7A8C84783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02890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4 picture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637763"/>
            <a:ext cx="9000000" cy="268816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GB" sz="1600" i="1" dirty="0"/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84783" y="2333626"/>
            <a:ext cx="2525028" cy="1749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A59421-45FA-43A8-BD25-8229265F468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92514" y="2333626"/>
            <a:ext cx="2921054" cy="1749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0302B16-3376-4D9F-8B31-F27F5633484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84783" y="4235388"/>
            <a:ext cx="2525028" cy="1749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04EA69CA-2C7B-4703-9620-DCB22E62D07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92514" y="4235388"/>
            <a:ext cx="2921054" cy="1749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E7AF78-802D-4740-A91B-59A118A5FB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73275" y="2333626"/>
            <a:ext cx="2525028" cy="1749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5DC0788D-7A25-4604-868F-E66699CD671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181010" y="2333626"/>
            <a:ext cx="2921054" cy="1749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D1158B5F-F65A-4D95-964D-F93C315C8FE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73275" y="4235388"/>
            <a:ext cx="2525028" cy="1749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7DED7C26-C0F2-4C2B-8BB3-F218505ACF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1010" y="4235388"/>
            <a:ext cx="2921054" cy="1749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085F8B1-6E25-4491-A94E-EFF79C04E1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17007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picture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637763"/>
            <a:ext cx="9000000" cy="268816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GB" sz="1600" i="1" dirty="0"/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2522" y="4817770"/>
            <a:ext cx="3535503" cy="1167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C12BF7B-ABBE-4780-A79E-3FCF62A44B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8254" y="4817770"/>
            <a:ext cx="3535503" cy="1167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D3E05BF-B74A-4ACF-8018-D8A5DE7942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1619" y="4817770"/>
            <a:ext cx="3535503" cy="1167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A59421-45FA-43A8-BD25-8229265F468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92522" y="2333626"/>
            <a:ext cx="3533775" cy="2274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68C52EE3-BB56-4B2B-9ABC-62F9733E692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28256" y="2333626"/>
            <a:ext cx="3533775" cy="2274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FD8ACBBF-2633-43A7-B5A5-BBDCEDD1129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261619" y="2333626"/>
            <a:ext cx="3533775" cy="2274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Add pictu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696EB33-BB59-4AA6-8034-2C72BEA131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12849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graphs with title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6" y="2381250"/>
            <a:ext cx="5505450" cy="328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5C597E66-14C3-4694-B0FA-38C1DD74FC10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292855" y="2381251"/>
            <a:ext cx="5505450" cy="328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6" y="2076461"/>
            <a:ext cx="5505450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C6CC6A3-B9CD-4EF3-8048-2D37203798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2855" y="2076461"/>
            <a:ext cx="5505450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6" y="5835660"/>
            <a:ext cx="5505450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553BCB3-A743-4D10-816D-A9439EC462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92855" y="5835660"/>
            <a:ext cx="5505450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1F054AE-7BFF-4ED9-89E4-75CE7F23D7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38605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graph on RH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5C597E66-14C3-4694-B0FA-38C1DD74FC10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292855" y="2076452"/>
            <a:ext cx="5505450" cy="39084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6" y="2076461"/>
            <a:ext cx="5505450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0E87885-682A-4F49-BD25-C6F49E53CC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2517" y="2417284"/>
            <a:ext cx="5506636" cy="35676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5C8D620-8EEC-4F4E-908A-87CAA2C0B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07530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graph on LH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5C597E66-14C3-4694-B0FA-38C1DD74FC10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393706" y="2076452"/>
            <a:ext cx="5505450" cy="39084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92853" y="2076461"/>
            <a:ext cx="5505450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0E87885-682A-4F49-BD25-C6F49E53CC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91667" y="2417284"/>
            <a:ext cx="5506636" cy="35676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B743A50-7120-4074-AF09-6D028F7BB3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682572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graphs on RH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5C597E66-14C3-4694-B0FA-38C1DD74FC10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292855" y="2076452"/>
            <a:ext cx="5505450" cy="17893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6" y="2076461"/>
            <a:ext cx="5505450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0E87885-682A-4F49-BD25-C6F49E53CC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2517" y="2417284"/>
            <a:ext cx="5506636" cy="35676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3F53D97-30AB-45FF-8660-A21A6736C7A7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6292855" y="4195495"/>
            <a:ext cx="5505450" cy="17893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6E65C8E-5E81-40F8-A6E9-41806910BC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38042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graphs on LH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5C597E66-14C3-4694-B0FA-38C1DD74FC10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393706" y="2076452"/>
            <a:ext cx="5505450" cy="17893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94046" y="2076461"/>
            <a:ext cx="5505450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title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0E87885-682A-4F49-BD25-C6F49E53CC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92860" y="2417284"/>
            <a:ext cx="5506636" cy="35676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3F53D97-30AB-45FF-8660-A21A6736C7A7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393706" y="4195495"/>
            <a:ext cx="5505450" cy="17893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4CF23B1-A098-478E-BC9E-DA662CB604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6551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8C3158-35CF-4B36-B30E-F34B7E15B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9C7A34-8F66-4961-AE57-327EFBD63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0BCADB-B7D9-4D04-B8A7-A43A0D5A3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3801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graphs with title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8" y="2381250"/>
            <a:ext cx="3532589" cy="328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8" y="2076461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8" y="5835660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AACE5963-1521-48AF-9F56-D231A0B68FC9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65721" y="2381250"/>
            <a:ext cx="3532589" cy="328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8401449-C0D4-4270-86FE-B6FEE66752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21" y="2076461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A0AF5AF-5E75-417C-AD74-3ADC001359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5721" y="5835660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6" name="Chart Placeholder 6">
            <a:extLst>
              <a:ext uri="{FF2B5EF4-FFF2-40B4-BE49-F238E27FC236}">
                <a16:creationId xmlns:a16="http://schemas.microsoft.com/office/drawing/2014/main" id="{B6AAD6B0-0F3E-4B66-B11B-7BF2E352CDAD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329715" y="2381250"/>
            <a:ext cx="3532589" cy="328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DE0EE8D-C2B5-4FC1-A5DC-19BE744E78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9715" y="2076461"/>
            <a:ext cx="3532589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75E673D-C0C3-4F25-BBE6-22E607769A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9715" y="5835660"/>
            <a:ext cx="3532589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2575D36-D768-49B2-8159-6D54D321CA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83091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 with title, footnot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6" y="2381250"/>
            <a:ext cx="5505450" cy="328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B99538-B68A-4F84-ADF3-CB977676B5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3706" y="2076461"/>
            <a:ext cx="5505450" cy="2571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/>
              <a:t>Add graph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7C4F1B-8D87-4900-ABB2-43D7175D3A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706" y="5835660"/>
            <a:ext cx="5505450" cy="1492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i="1"/>
            </a:lvl1pPr>
          </a:lstStyle>
          <a:p>
            <a:pPr lvl="0"/>
            <a:r>
              <a:rPr lang="en-US" dirty="0"/>
              <a:t>Add footnote/source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C242B78-F474-48B7-AC66-70DEDA8518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2856" y="2076451"/>
            <a:ext cx="5505451" cy="39084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989BAAE-105C-47C4-9E38-A99F84310C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57748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graphs with text box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6">
            <a:extLst>
              <a:ext uri="{FF2B5EF4-FFF2-40B4-BE49-F238E27FC236}">
                <a16:creationId xmlns:a16="http://schemas.microsoft.com/office/drawing/2014/main" id="{A38C421D-AD36-4AEF-82AB-0114C2ABB7D9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93708" y="2333626"/>
            <a:ext cx="3532589" cy="227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637765"/>
            <a:ext cx="9000000" cy="268816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GB" sz="1600" i="1" dirty="0"/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2522" y="4817770"/>
            <a:ext cx="3535503" cy="1167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C12BF7B-ABBE-4780-A79E-3FCF62A44B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8254" y="4817770"/>
            <a:ext cx="3535503" cy="11671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D3E05BF-B74A-4ACF-8018-D8A5DE7942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1619" y="2333626"/>
            <a:ext cx="3535503" cy="36512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63" lvl="0" indent="-207963">
              <a:buSzPct val="80000"/>
              <a:buFontTx/>
              <a:buBlip>
                <a:blip r:embed="rId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ECF2EB9C-29A2-4ECF-BD9E-7A4FE0130DAA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4328256" y="2333626"/>
            <a:ext cx="3532589" cy="227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 dirty="0"/>
              <a:t>Add graph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3E268F1-CFD0-493B-9378-1E089E38D2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1268714"/>
            <a:ext cx="90000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Calibri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9185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4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7" y="185504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39512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3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7" y="185504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564897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3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7" y="185504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257282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3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7" y="185504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9829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7" y="1539031"/>
            <a:ext cx="11404600" cy="49381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6C3F2E8-937B-4189-AC25-4FEC2736AE2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98868" y="2707430"/>
            <a:ext cx="5505450" cy="27789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E59576E-A26E-4E02-B869-1D54568597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517" y="205441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5D41BC-5F48-4093-9F21-FE8620F071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5317" y="2727331"/>
            <a:ext cx="5505450" cy="25939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90278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3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7" y="185504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6392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3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B1C49C8-B33F-4A56-BFCF-6E70284058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3704" y="1872437"/>
            <a:ext cx="11404600" cy="3447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4061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C75110-BF32-46F3-B0AE-1EB5DAE79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AF28DC-A8A8-42E9-814F-0015189EFF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0AAE0C-9535-4792-B6F4-03915B52448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817316-5F5C-41B1-A462-0C80A1CB60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0002DD-DC3C-41C0-8683-D1AAFCDDD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58CFDB-ABC8-4EC5-A810-62321DEEF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43619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3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B1C49C8-B33F-4A56-BFCF-6E70284058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3704" y="1872437"/>
            <a:ext cx="11404600" cy="3447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050065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3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B1C49C8-B33F-4A56-BFCF-6E70284058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3704" y="1872437"/>
            <a:ext cx="11404600" cy="3447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9613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3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7" y="185504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388131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3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7" y="185504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000846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3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7" y="185504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88730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7" y="1361233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7" y="1855042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25580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Yell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8"/>
            <a:ext cx="4689764" cy="1110338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dirty="0"/>
              <a:t>Add presentation title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153" y="3869897"/>
            <a:ext cx="4689452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 dirty="0"/>
              <a:t>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10932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644BD-D12D-4A6F-B764-92EA45BED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2A1771-43A9-45F1-AFFA-BAFAEA47E5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FBF9C7-3E4F-4441-830F-DEE359E5E5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AFAF58-857A-4171-B4AF-A653B06E6A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EA7709-9DF1-43E4-8923-1666E8575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E550AB-5B00-4749-BFDF-9267CCC2A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5610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57.xml"/><Relationship Id="rId42" Type="http://schemas.openxmlformats.org/officeDocument/2006/relationships/slideLayout" Target="../slideLayouts/slideLayout65.xml"/><Relationship Id="rId47" Type="http://schemas.openxmlformats.org/officeDocument/2006/relationships/slideLayout" Target="../slideLayouts/slideLayout70.xml"/><Relationship Id="rId50" Type="http://schemas.openxmlformats.org/officeDocument/2006/relationships/slideLayout" Target="../slideLayouts/slideLayout73.xml"/><Relationship Id="rId55" Type="http://schemas.openxmlformats.org/officeDocument/2006/relationships/slideLayout" Target="../slideLayouts/slideLayout78.xml"/><Relationship Id="rId6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slideLayout" Target="../slideLayouts/slideLayout60.xml"/><Relationship Id="rId40" Type="http://schemas.openxmlformats.org/officeDocument/2006/relationships/slideLayout" Target="../slideLayouts/slideLayout63.xml"/><Relationship Id="rId45" Type="http://schemas.openxmlformats.org/officeDocument/2006/relationships/slideLayout" Target="../slideLayouts/slideLayout68.xml"/><Relationship Id="rId53" Type="http://schemas.openxmlformats.org/officeDocument/2006/relationships/slideLayout" Target="../slideLayouts/slideLayout76.xml"/><Relationship Id="rId58" Type="http://schemas.openxmlformats.org/officeDocument/2006/relationships/slideLayout" Target="../slideLayouts/slideLayout81.xml"/><Relationship Id="rId5" Type="http://schemas.openxmlformats.org/officeDocument/2006/relationships/slideLayout" Target="../slideLayouts/slideLayout28.xml"/><Relationship Id="rId61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slideLayout" Target="../slideLayouts/slideLayout58.xml"/><Relationship Id="rId43" Type="http://schemas.openxmlformats.org/officeDocument/2006/relationships/slideLayout" Target="../slideLayouts/slideLayout66.xml"/><Relationship Id="rId48" Type="http://schemas.openxmlformats.org/officeDocument/2006/relationships/slideLayout" Target="../slideLayouts/slideLayout71.xml"/><Relationship Id="rId56" Type="http://schemas.openxmlformats.org/officeDocument/2006/relationships/slideLayout" Target="../slideLayouts/slideLayout79.xml"/><Relationship Id="rId64" Type="http://schemas.openxmlformats.org/officeDocument/2006/relationships/theme" Target="../theme/theme3.xml"/><Relationship Id="rId8" Type="http://schemas.openxmlformats.org/officeDocument/2006/relationships/slideLayout" Target="../slideLayouts/slideLayout31.xml"/><Relationship Id="rId51" Type="http://schemas.openxmlformats.org/officeDocument/2006/relationships/slideLayout" Target="../slideLayouts/slideLayout74.xml"/><Relationship Id="rId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slideLayout" Target="../slideLayouts/slideLayout61.xml"/><Relationship Id="rId46" Type="http://schemas.openxmlformats.org/officeDocument/2006/relationships/slideLayout" Target="../slideLayouts/slideLayout69.xml"/><Relationship Id="rId59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43.xml"/><Relationship Id="rId41" Type="http://schemas.openxmlformats.org/officeDocument/2006/relationships/slideLayout" Target="../slideLayouts/slideLayout64.xml"/><Relationship Id="rId54" Type="http://schemas.openxmlformats.org/officeDocument/2006/relationships/slideLayout" Target="../slideLayouts/slideLayout77.xml"/><Relationship Id="rId6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slideLayout" Target="../slideLayouts/slideLayout59.xml"/><Relationship Id="rId49" Type="http://schemas.openxmlformats.org/officeDocument/2006/relationships/slideLayout" Target="../slideLayouts/slideLayout72.xml"/><Relationship Id="rId57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33.xml"/><Relationship Id="rId31" Type="http://schemas.openxmlformats.org/officeDocument/2006/relationships/slideLayout" Target="../slideLayouts/slideLayout54.xml"/><Relationship Id="rId44" Type="http://schemas.openxmlformats.org/officeDocument/2006/relationships/slideLayout" Target="../slideLayouts/slideLayout67.xml"/><Relationship Id="rId52" Type="http://schemas.openxmlformats.org/officeDocument/2006/relationships/slideLayout" Target="../slideLayouts/slideLayout75.xml"/><Relationship Id="rId60" Type="http://schemas.openxmlformats.org/officeDocument/2006/relationships/slideLayout" Target="../slideLayouts/slideLayout83.xml"/><Relationship Id="rId65" Type="http://schemas.openxmlformats.org/officeDocument/2006/relationships/image" Target="../media/image4.pn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9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015796-F3D3-472F-A328-12BD9EEE6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3AC5D8-3F01-47FF-B789-70BCC0D61D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C5803B-A483-49A4-B373-34168A2371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C98256-F645-4D84-B77A-2C3E6AF4DCEE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0F3FA1-63B1-4563-BB5B-FDD349EBBD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1FDB69-412A-42FD-A29D-E95BED6FE7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9E8F9-2D4F-448E-92FC-34614C86BE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378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5" y="354283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9BBA4E4-9ED0-4AF1-97A2-1A44F92F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0825"/>
            <a:ext cx="11404600" cy="49323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07963" lvl="0" indent="-207963">
              <a:buSzPct val="80000"/>
              <a:buFontTx/>
              <a:buBlip>
                <a:blip r:embed="rId12"/>
              </a:buBlip>
            </a:pPr>
            <a:r>
              <a:rPr lang="en-US" dirty="0"/>
              <a:t>First level</a:t>
            </a:r>
          </a:p>
          <a:p>
            <a:pPr marL="361950" lvl="1" indent="-117475">
              <a:buFont typeface="Century Gothic" panose="020B0502020202020204" pitchFamily="34" charset="0"/>
              <a:buChar char="–"/>
            </a:pPr>
            <a:r>
              <a:rPr lang="en-US" dirty="0"/>
              <a:t>Second level</a:t>
            </a:r>
          </a:p>
          <a:p>
            <a:pPr marL="533400" lvl="2" indent="-180975"/>
            <a:r>
              <a:rPr lang="en-US" dirty="0"/>
              <a:t>Third level</a:t>
            </a:r>
          </a:p>
          <a:p>
            <a:pPr marL="679450" lvl="3" indent="-163513">
              <a:buFont typeface="Century Gothic" panose="020B0502020202020204" pitchFamily="34" charset="0"/>
              <a:buChar char="–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MSIPCMContentMarking" descr="{&quot;HashCode&quot;:777030729,&quot;Placement&quot;:&quot;Footer&quot;}"/>
          <p:cNvSpPr txBox="1"/>
          <p:nvPr userDrawn="1"/>
        </p:nvSpPr>
        <p:spPr>
          <a:xfrm>
            <a:off x="0" y="6682364"/>
            <a:ext cx="1045461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</a:rPr>
              <a:t>Sensitivity: Internal</a:t>
            </a:r>
          </a:p>
        </p:txBody>
      </p:sp>
    </p:spTree>
    <p:extLst>
      <p:ext uri="{BB962C8B-B14F-4D97-AF65-F5344CB8AC3E}">
        <p14:creationId xmlns:p14="http://schemas.microsoft.com/office/powerpoint/2010/main" val="2683586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8" userDrawn="1">
          <p15:clr>
            <a:srgbClr val="F26B43"/>
          </p15:clr>
        </p15:guide>
        <p15:guide id="2" pos="248" userDrawn="1">
          <p15:clr>
            <a:srgbClr val="F26B43"/>
          </p15:clr>
        </p15:guide>
        <p15:guide id="3" pos="7432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pos="3716" userDrawn="1">
          <p15:clr>
            <a:srgbClr val="F26B43"/>
          </p15:clr>
        </p15:guide>
        <p15:guide id="6" pos="3964" userDrawn="1">
          <p15:clr>
            <a:srgbClr val="F26B43"/>
          </p15:clr>
        </p15:guide>
        <p15:guide id="7" orient="horz" pos="3135" userDrawn="1">
          <p15:clr>
            <a:srgbClr val="F26B43"/>
          </p15:clr>
        </p15:guide>
        <p15:guide id="8" orient="horz" pos="3543" userDrawn="1">
          <p15:clr>
            <a:srgbClr val="F26B43"/>
          </p15:clr>
        </p15:guide>
        <p15:guide id="9" orient="horz" pos="95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>
            <a:extLst>
              <a:ext uri="{FF2B5EF4-FFF2-40B4-BE49-F238E27FC236}">
                <a16:creationId xmlns:a16="http://schemas.microsoft.com/office/drawing/2014/main" id="{560EFCDF-3CF2-4901-85B6-291B32087FC0}"/>
              </a:ext>
            </a:extLst>
          </p:cNvPr>
          <p:cNvSpPr/>
          <p:nvPr userDrawn="1"/>
        </p:nvSpPr>
        <p:spPr>
          <a:xfrm>
            <a:off x="392518" y="6115306"/>
            <a:ext cx="619125" cy="2462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DA70226B-C0E4-43BB-9549-8E089DB1098E}" type="slidenum">
              <a:rPr lang="en-GB" sz="900" b="1" smtClean="0">
                <a:solidFill>
                  <a:prstClr val="black"/>
                </a:solidFill>
                <a:latin typeface="Calibri" pitchFamily="34" charset="0"/>
              </a:rPr>
              <a:pPr algn="ctr"/>
              <a:t>‹#›</a:t>
            </a:fld>
            <a:endParaRPr lang="en-GB" sz="9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760ACE-DD87-404D-A93C-362BECAF2463}"/>
              </a:ext>
            </a:extLst>
          </p:cNvPr>
          <p:cNvSpPr txBox="1"/>
          <p:nvPr userDrawn="1"/>
        </p:nvSpPr>
        <p:spPr>
          <a:xfrm>
            <a:off x="393700" y="6476778"/>
            <a:ext cx="6787029" cy="31067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700" dirty="0">
                <a:solidFill>
                  <a:prstClr val="black"/>
                </a:solidFill>
                <a:latin typeface="Calibri" pitchFamily="34" charset="0"/>
              </a:rPr>
              <a:t>[Add disclaimer text in slide master mode]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ED0FF97-3A79-427B-B3F2-771435D28F6B}"/>
              </a:ext>
            </a:extLst>
          </p:cNvPr>
          <p:cNvGrpSpPr/>
          <p:nvPr userDrawn="1"/>
        </p:nvGrpSpPr>
        <p:grpSpPr>
          <a:xfrm>
            <a:off x="6" y="9"/>
            <a:ext cx="12192000" cy="1545071"/>
            <a:chOff x="0" y="1"/>
            <a:chExt cx="12192000" cy="1545071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6E0F481-118D-4206-965B-E8CE63FD2374}"/>
                </a:ext>
              </a:extLst>
            </p:cNvPr>
            <p:cNvSpPr/>
            <p:nvPr userDrawn="1"/>
          </p:nvSpPr>
          <p:spPr>
            <a:xfrm>
              <a:off x="0" y="1"/>
              <a:ext cx="12192000" cy="1093463"/>
            </a:xfrm>
            <a:custGeom>
              <a:avLst/>
              <a:gdLst>
                <a:gd name="connsiteX0" fmla="*/ 0 w 12192000"/>
                <a:gd name="connsiteY0" fmla="*/ 0 h 1093463"/>
                <a:gd name="connsiteX1" fmla="*/ 12192000 w 12192000"/>
                <a:gd name="connsiteY1" fmla="*/ 0 h 1093463"/>
                <a:gd name="connsiteX2" fmla="*/ 12192000 w 12192000"/>
                <a:gd name="connsiteY2" fmla="*/ 1093463 h 1093463"/>
                <a:gd name="connsiteX3" fmla="*/ 11945698 w 12192000"/>
                <a:gd name="connsiteY3" fmla="*/ 1045640 h 1093463"/>
                <a:gd name="connsiteX4" fmla="*/ 6096000 w 12192000"/>
                <a:gd name="connsiteY4" fmla="*/ 545464 h 1093463"/>
                <a:gd name="connsiteX5" fmla="*/ 246302 w 12192000"/>
                <a:gd name="connsiteY5" fmla="*/ 1045640 h 1093463"/>
                <a:gd name="connsiteX6" fmla="*/ 0 w 12192000"/>
                <a:gd name="connsiteY6" fmla="*/ 1093463 h 1093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093463">
                  <a:moveTo>
                    <a:pt x="0" y="0"/>
                  </a:moveTo>
                  <a:lnTo>
                    <a:pt x="12192000" y="0"/>
                  </a:lnTo>
                  <a:lnTo>
                    <a:pt x="12192000" y="1093463"/>
                  </a:lnTo>
                  <a:lnTo>
                    <a:pt x="11945698" y="1045640"/>
                  </a:lnTo>
                  <a:cubicBezTo>
                    <a:pt x="10206798" y="726655"/>
                    <a:pt x="8214061" y="545464"/>
                    <a:pt x="6096000" y="545464"/>
                  </a:cubicBezTo>
                  <a:cubicBezTo>
                    <a:pt x="3977940" y="545464"/>
                    <a:pt x="1985202" y="726655"/>
                    <a:pt x="246302" y="1045640"/>
                  </a:cubicBezTo>
                  <a:lnTo>
                    <a:pt x="0" y="109346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55B6095-D97D-4836-83AE-03217F15C9CD}"/>
                </a:ext>
              </a:extLst>
            </p:cNvPr>
            <p:cNvGrpSpPr/>
            <p:nvPr userDrawn="1"/>
          </p:nvGrpSpPr>
          <p:grpSpPr>
            <a:xfrm>
              <a:off x="10648109" y="393700"/>
              <a:ext cx="1150191" cy="1151372"/>
              <a:chOff x="10648109" y="5310073"/>
              <a:chExt cx="1150191" cy="1151372"/>
            </a:xfrm>
          </p:grpSpPr>
          <p:sp>
            <p:nvSpPr>
              <p:cNvPr id="6" name="Rectangle 20">
                <a:extLst>
                  <a:ext uri="{FF2B5EF4-FFF2-40B4-BE49-F238E27FC236}">
                    <a16:creationId xmlns:a16="http://schemas.microsoft.com/office/drawing/2014/main" id="{94DCF7C2-C372-4817-A4FA-118CE18A246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648109" y="5310073"/>
                <a:ext cx="1150191" cy="11513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7" name="Rectangle 21">
                <a:extLst>
                  <a:ext uri="{FF2B5EF4-FFF2-40B4-BE49-F238E27FC236}">
                    <a16:creationId xmlns:a16="http://schemas.microsoft.com/office/drawing/2014/main" id="{2749F594-90BD-475B-AAC9-C16A7B8F831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05973" y="5367936"/>
                <a:ext cx="1034463" cy="1035644"/>
              </a:xfrm>
              <a:prstGeom prst="rect">
                <a:avLst/>
              </a:pr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8" name="Oval 22">
                <a:extLst>
                  <a:ext uri="{FF2B5EF4-FFF2-40B4-BE49-F238E27FC236}">
                    <a16:creationId xmlns:a16="http://schemas.microsoft.com/office/drawing/2014/main" id="{637D4F4E-975D-4A77-AFC5-DF112ADF85A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10734315" y="5684416"/>
                <a:ext cx="977780" cy="402685"/>
              </a:xfrm>
              <a:prstGeom prst="ellipse">
                <a:avLst/>
              </a:prstGeom>
              <a:solidFill>
                <a:srgbClr val="0568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9" name="Freeform 23">
                <a:extLst>
                  <a:ext uri="{FF2B5EF4-FFF2-40B4-BE49-F238E27FC236}">
                    <a16:creationId xmlns:a16="http://schemas.microsoft.com/office/drawing/2014/main" id="{560F5823-4C2E-465C-9E69-954802247C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79511" y="5784792"/>
                <a:ext cx="179496" cy="158240"/>
              </a:xfrm>
              <a:custGeom>
                <a:avLst/>
                <a:gdLst>
                  <a:gd name="T0" fmla="*/ 141 w 152"/>
                  <a:gd name="T1" fmla="*/ 43 h 134"/>
                  <a:gd name="T2" fmla="*/ 152 w 152"/>
                  <a:gd name="T3" fmla="*/ 0 h 134"/>
                  <a:gd name="T4" fmla="*/ 11 w 152"/>
                  <a:gd name="T5" fmla="*/ 0 h 134"/>
                  <a:gd name="T6" fmla="*/ 0 w 152"/>
                  <a:gd name="T7" fmla="*/ 43 h 134"/>
                  <a:gd name="T8" fmla="*/ 46 w 152"/>
                  <a:gd name="T9" fmla="*/ 43 h 134"/>
                  <a:gd name="T10" fmla="*/ 23 w 152"/>
                  <a:gd name="T11" fmla="*/ 134 h 134"/>
                  <a:gd name="T12" fmla="*/ 72 w 152"/>
                  <a:gd name="T13" fmla="*/ 134 h 134"/>
                  <a:gd name="T14" fmla="*/ 95 w 152"/>
                  <a:gd name="T15" fmla="*/ 43 h 134"/>
                  <a:gd name="T16" fmla="*/ 141 w 152"/>
                  <a:gd name="T17" fmla="*/ 4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34">
                    <a:moveTo>
                      <a:pt x="141" y="43"/>
                    </a:moveTo>
                    <a:lnTo>
                      <a:pt x="152" y="0"/>
                    </a:lnTo>
                    <a:lnTo>
                      <a:pt x="11" y="0"/>
                    </a:lnTo>
                    <a:lnTo>
                      <a:pt x="0" y="43"/>
                    </a:lnTo>
                    <a:lnTo>
                      <a:pt x="46" y="43"/>
                    </a:lnTo>
                    <a:lnTo>
                      <a:pt x="23" y="134"/>
                    </a:lnTo>
                    <a:lnTo>
                      <a:pt x="72" y="134"/>
                    </a:lnTo>
                    <a:lnTo>
                      <a:pt x="95" y="43"/>
                    </a:lnTo>
                    <a:lnTo>
                      <a:pt x="141" y="43"/>
                    </a:lnTo>
                    <a:close/>
                  </a:path>
                </a:pathLst>
              </a:custGeom>
              <a:solidFill>
                <a:srgbClr val="FECA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" name="Freeform 24">
                <a:extLst>
                  <a:ext uri="{FF2B5EF4-FFF2-40B4-BE49-F238E27FC236}">
                    <a16:creationId xmlns:a16="http://schemas.microsoft.com/office/drawing/2014/main" id="{A312D850-129E-4BB2-BC06-35889DC96F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10268" y="5784792"/>
                <a:ext cx="266882" cy="200752"/>
              </a:xfrm>
              <a:custGeom>
                <a:avLst/>
                <a:gdLst>
                  <a:gd name="T0" fmla="*/ 226 w 226"/>
                  <a:gd name="T1" fmla="*/ 0 h 170"/>
                  <a:gd name="T2" fmla="*/ 156 w 226"/>
                  <a:gd name="T3" fmla="*/ 0 h 170"/>
                  <a:gd name="T4" fmla="*/ 111 w 226"/>
                  <a:gd name="T5" fmla="*/ 100 h 170"/>
                  <a:gd name="T6" fmla="*/ 111 w 226"/>
                  <a:gd name="T7" fmla="*/ 0 h 170"/>
                  <a:gd name="T8" fmla="*/ 43 w 226"/>
                  <a:gd name="T9" fmla="*/ 0 h 170"/>
                  <a:gd name="T10" fmla="*/ 0 w 226"/>
                  <a:gd name="T11" fmla="*/ 170 h 170"/>
                  <a:gd name="T12" fmla="*/ 47 w 226"/>
                  <a:gd name="T13" fmla="*/ 170 h 170"/>
                  <a:gd name="T14" fmla="*/ 75 w 226"/>
                  <a:gd name="T15" fmla="*/ 61 h 170"/>
                  <a:gd name="T16" fmla="*/ 75 w 226"/>
                  <a:gd name="T17" fmla="*/ 170 h 170"/>
                  <a:gd name="T18" fmla="*/ 111 w 226"/>
                  <a:gd name="T19" fmla="*/ 170 h 170"/>
                  <a:gd name="T20" fmla="*/ 165 w 226"/>
                  <a:gd name="T21" fmla="*/ 61 h 170"/>
                  <a:gd name="T22" fmla="*/ 139 w 226"/>
                  <a:gd name="T23" fmla="*/ 170 h 170"/>
                  <a:gd name="T24" fmla="*/ 183 w 226"/>
                  <a:gd name="T25" fmla="*/ 170 h 170"/>
                  <a:gd name="T26" fmla="*/ 226 w 226"/>
                  <a:gd name="T27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6" h="170">
                    <a:moveTo>
                      <a:pt x="226" y="0"/>
                    </a:moveTo>
                    <a:lnTo>
                      <a:pt x="156" y="0"/>
                    </a:lnTo>
                    <a:lnTo>
                      <a:pt x="111" y="100"/>
                    </a:lnTo>
                    <a:lnTo>
                      <a:pt x="111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7" y="170"/>
                    </a:lnTo>
                    <a:lnTo>
                      <a:pt x="75" y="61"/>
                    </a:lnTo>
                    <a:lnTo>
                      <a:pt x="75" y="170"/>
                    </a:lnTo>
                    <a:lnTo>
                      <a:pt x="111" y="170"/>
                    </a:lnTo>
                    <a:lnTo>
                      <a:pt x="165" y="61"/>
                    </a:lnTo>
                    <a:lnTo>
                      <a:pt x="139" y="170"/>
                    </a:lnTo>
                    <a:lnTo>
                      <a:pt x="183" y="170"/>
                    </a:lnTo>
                    <a:lnTo>
                      <a:pt x="22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" name="Freeform 25">
                <a:extLst>
                  <a:ext uri="{FF2B5EF4-FFF2-40B4-BE49-F238E27FC236}">
                    <a16:creationId xmlns:a16="http://schemas.microsoft.com/office/drawing/2014/main" id="{9FFC8DFA-0242-486E-B2A3-75D78FF4DB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22400" y="5784792"/>
                <a:ext cx="213742" cy="200752"/>
              </a:xfrm>
              <a:custGeom>
                <a:avLst/>
                <a:gdLst>
                  <a:gd name="T0" fmla="*/ 181 w 181"/>
                  <a:gd name="T1" fmla="*/ 0 h 170"/>
                  <a:gd name="T2" fmla="*/ 136 w 181"/>
                  <a:gd name="T3" fmla="*/ 0 h 170"/>
                  <a:gd name="T4" fmla="*/ 114 w 181"/>
                  <a:gd name="T5" fmla="*/ 91 h 170"/>
                  <a:gd name="T6" fmla="*/ 92 w 181"/>
                  <a:gd name="T7" fmla="*/ 0 h 170"/>
                  <a:gd name="T8" fmla="*/ 43 w 181"/>
                  <a:gd name="T9" fmla="*/ 0 h 170"/>
                  <a:gd name="T10" fmla="*/ 0 w 181"/>
                  <a:gd name="T11" fmla="*/ 170 h 170"/>
                  <a:gd name="T12" fmla="*/ 45 w 181"/>
                  <a:gd name="T13" fmla="*/ 170 h 170"/>
                  <a:gd name="T14" fmla="*/ 69 w 181"/>
                  <a:gd name="T15" fmla="*/ 78 h 170"/>
                  <a:gd name="T16" fmla="*/ 92 w 181"/>
                  <a:gd name="T17" fmla="*/ 170 h 170"/>
                  <a:gd name="T18" fmla="*/ 139 w 181"/>
                  <a:gd name="T19" fmla="*/ 170 h 170"/>
                  <a:gd name="T20" fmla="*/ 181 w 181"/>
                  <a:gd name="T2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70">
                    <a:moveTo>
                      <a:pt x="181" y="0"/>
                    </a:moveTo>
                    <a:lnTo>
                      <a:pt x="136" y="0"/>
                    </a:lnTo>
                    <a:lnTo>
                      <a:pt x="114" y="91"/>
                    </a:lnTo>
                    <a:lnTo>
                      <a:pt x="92" y="0"/>
                    </a:lnTo>
                    <a:lnTo>
                      <a:pt x="43" y="0"/>
                    </a:lnTo>
                    <a:lnTo>
                      <a:pt x="0" y="170"/>
                    </a:lnTo>
                    <a:lnTo>
                      <a:pt x="45" y="170"/>
                    </a:lnTo>
                    <a:lnTo>
                      <a:pt x="69" y="78"/>
                    </a:lnTo>
                    <a:lnTo>
                      <a:pt x="92" y="170"/>
                    </a:lnTo>
                    <a:lnTo>
                      <a:pt x="139" y="17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2" name="Freeform 26">
                <a:extLst>
                  <a:ext uri="{FF2B5EF4-FFF2-40B4-BE49-F238E27FC236}">
                    <a16:creationId xmlns:a16="http://schemas.microsoft.com/office/drawing/2014/main" id="{98C00431-59FD-4A98-AA47-26D4F6093F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96044" y="5957203"/>
                <a:ext cx="64950" cy="28341"/>
              </a:xfrm>
              <a:custGeom>
                <a:avLst/>
                <a:gdLst>
                  <a:gd name="T0" fmla="*/ 6 w 55"/>
                  <a:gd name="T1" fmla="*/ 0 h 24"/>
                  <a:gd name="T2" fmla="*/ 0 w 55"/>
                  <a:gd name="T3" fmla="*/ 24 h 24"/>
                  <a:gd name="T4" fmla="*/ 49 w 55"/>
                  <a:gd name="T5" fmla="*/ 24 h 24"/>
                  <a:gd name="T6" fmla="*/ 55 w 55"/>
                  <a:gd name="T7" fmla="*/ 0 h 24"/>
                  <a:gd name="T8" fmla="*/ 6 w 5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4">
                    <a:moveTo>
                      <a:pt x="6" y="0"/>
                    </a:moveTo>
                    <a:lnTo>
                      <a:pt x="0" y="24"/>
                    </a:lnTo>
                    <a:lnTo>
                      <a:pt x="49" y="24"/>
                    </a:lnTo>
                    <a:lnTo>
                      <a:pt x="55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524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692556-C813-459B-B1B4-A18207AFBB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2517" y="1938772"/>
            <a:ext cx="11405786" cy="40461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07963" marR="0" lvl="0" indent="-2079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65"/>
              </a:buBlip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</a:t>
            </a:r>
          </a:p>
          <a:p>
            <a:pPr marL="361950" marR="0" lvl="1" indent="-117475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533400" marR="0" lvl="2" indent="-180975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679450" marR="0" lvl="3" indent="-16351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815975" marR="0" lvl="4" indent="-1524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9880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  <p:sldLayoutId id="2147483705" r:id="rId32"/>
    <p:sldLayoutId id="2147483706" r:id="rId33"/>
    <p:sldLayoutId id="2147483707" r:id="rId34"/>
    <p:sldLayoutId id="2147483708" r:id="rId35"/>
    <p:sldLayoutId id="2147483709" r:id="rId36"/>
    <p:sldLayoutId id="2147483710" r:id="rId37"/>
    <p:sldLayoutId id="2147483711" r:id="rId38"/>
    <p:sldLayoutId id="2147483712" r:id="rId39"/>
    <p:sldLayoutId id="2147483713" r:id="rId40"/>
    <p:sldLayoutId id="2147483714" r:id="rId41"/>
    <p:sldLayoutId id="2147483715" r:id="rId42"/>
    <p:sldLayoutId id="2147483716" r:id="rId43"/>
    <p:sldLayoutId id="2147483717" r:id="rId44"/>
    <p:sldLayoutId id="2147483718" r:id="rId45"/>
    <p:sldLayoutId id="2147483719" r:id="rId46"/>
    <p:sldLayoutId id="2147483720" r:id="rId47"/>
    <p:sldLayoutId id="2147483721" r:id="rId48"/>
    <p:sldLayoutId id="2147483722" r:id="rId49"/>
    <p:sldLayoutId id="2147483723" r:id="rId50"/>
    <p:sldLayoutId id="2147483724" r:id="rId51"/>
    <p:sldLayoutId id="2147483725" r:id="rId52"/>
    <p:sldLayoutId id="2147483726" r:id="rId53"/>
    <p:sldLayoutId id="2147483727" r:id="rId54"/>
    <p:sldLayoutId id="2147483728" r:id="rId55"/>
    <p:sldLayoutId id="2147483729" r:id="rId56"/>
    <p:sldLayoutId id="2147483730" r:id="rId57"/>
    <p:sldLayoutId id="2147483731" r:id="rId58"/>
    <p:sldLayoutId id="2147483732" r:id="rId59"/>
    <p:sldLayoutId id="2147483733" r:id="rId60"/>
    <p:sldLayoutId id="2147483734" r:id="rId61"/>
    <p:sldLayoutId id="2147483735" r:id="rId62"/>
    <p:sldLayoutId id="2147483736" r:id="rId6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7963" marR="0" indent="-20796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Pct val="80000"/>
        <a:buFontTx/>
        <a:buBlip>
          <a:blip r:embed="rId65"/>
        </a:buBlip>
        <a:tabLst/>
        <a:defRPr lang="en-US" sz="1200" kern="12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361950" marR="0" indent="-117475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>
          <a:solidFill>
            <a:schemeClr val="tx1"/>
          </a:solidFill>
          <a:latin typeface="Calibri" pitchFamily="34" charset="0"/>
          <a:ea typeface="+mn-ea"/>
          <a:cs typeface="+mn-cs"/>
        </a:defRPr>
      </a:lvl2pPr>
      <a:lvl3pPr marL="533400" marR="0" indent="-180975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1200" kern="1200">
          <a:solidFill>
            <a:schemeClr val="tx1"/>
          </a:solidFill>
          <a:latin typeface="Calibri" pitchFamily="34" charset="0"/>
          <a:ea typeface="+mn-ea"/>
          <a:cs typeface="+mn-cs"/>
        </a:defRPr>
      </a:lvl3pPr>
      <a:lvl4pPr marL="679450" marR="0" indent="-16351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>
          <a:solidFill>
            <a:schemeClr val="tx1"/>
          </a:solidFill>
          <a:latin typeface="Calibri" pitchFamily="34" charset="0"/>
          <a:ea typeface="+mn-ea"/>
          <a:cs typeface="+mn-cs"/>
        </a:defRPr>
      </a:lvl4pPr>
      <a:lvl5pPr marL="815975" marR="0" indent="-152400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GB" sz="1200" kern="1200">
          <a:solidFill>
            <a:schemeClr val="tx1"/>
          </a:solidFill>
          <a:latin typeface="Calibri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8">
          <p15:clr>
            <a:srgbClr val="F26B43"/>
          </p15:clr>
        </p15:guide>
        <p15:guide id="2" pos="248">
          <p15:clr>
            <a:srgbClr val="F26B43"/>
          </p15:clr>
        </p15:guide>
        <p15:guide id="3" pos="7432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pos="3716">
          <p15:clr>
            <a:srgbClr val="F26B43"/>
          </p15:clr>
        </p15:guide>
        <p15:guide id="6" pos="3964">
          <p15:clr>
            <a:srgbClr val="F26B43"/>
          </p15:clr>
        </p15:guide>
        <p15:guide id="8" orient="horz" pos="3770" userDrawn="1">
          <p15:clr>
            <a:srgbClr val="F26B43"/>
          </p15:clr>
        </p15:guide>
        <p15:guide id="9" orient="horz" pos="8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mtnnigeria.atlassian.net/browse/FT-237" TargetMode="External"/><Relationship Id="rId2" Type="http://schemas.openxmlformats.org/officeDocument/2006/relationships/hyperlink" Target="https://mtnnigeria.atlassian.net/browse/FT-193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7AD2B8-3AC0-BD4A-A880-6341ED400E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None/>
            </a:pP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DDA2DDE-9292-4976-8FDA-832A8DF1EE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2789" y="2891420"/>
            <a:ext cx="8482331" cy="1359346"/>
          </a:xfrm>
        </p:spPr>
        <p:txBody>
          <a:bodyPr/>
          <a:lstStyle/>
          <a:p>
            <a:pPr>
              <a:buNone/>
            </a:pPr>
            <a:r>
              <a:rPr lang="en-US" sz="7200" dirty="0"/>
              <a:t>SWAP RESTRICTIONS</a:t>
            </a:r>
          </a:p>
          <a:p>
            <a:pPr>
              <a:buNone/>
            </a:pPr>
            <a:r>
              <a:rPr lang="en-US" sz="2800" dirty="0"/>
              <a:t>DESIGN SPECIFICATIONS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DDA2DDE-9292-4976-8FDA-832A8DF1EE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38110" y="6293647"/>
            <a:ext cx="1722086" cy="366254"/>
          </a:xfrm>
        </p:spPr>
        <p:txBody>
          <a:bodyPr/>
          <a:lstStyle/>
          <a:p>
            <a:pPr>
              <a:buNone/>
            </a:pPr>
            <a:r>
              <a:rPr lang="en-US" sz="2800" dirty="0"/>
              <a:t>06-MAR-2023</a:t>
            </a:r>
          </a:p>
        </p:txBody>
      </p:sp>
    </p:spTree>
    <p:extLst>
      <p:ext uri="{BB962C8B-B14F-4D97-AF65-F5344CB8AC3E}">
        <p14:creationId xmlns:p14="http://schemas.microsoft.com/office/powerpoint/2010/main" val="63122348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7AD2B8-3AC0-BD4A-A880-6341ED400E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None/>
            </a:pP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DDA2DDE-9292-4976-8FDA-832A8DF1EE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2789" y="2891420"/>
            <a:ext cx="8482331" cy="365869"/>
          </a:xfrm>
        </p:spPr>
        <p:txBody>
          <a:bodyPr/>
          <a:lstStyle/>
          <a:p>
            <a:pPr>
              <a:buNone/>
            </a:pPr>
            <a:r>
              <a:rPr lang="en-US" sz="28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0736036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82D315-B8B1-EE4B-9E97-D93114A4A7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AD6EC6A-AA26-4B40-A133-5B6F3D0A83C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defTabSz="903013" hangingPunct="0">
              <a:defRPr/>
            </a:pPr>
            <a:fld id="{86CB4B4D-7CA3-9044-876B-883B54F8677D}" type="slidenum">
              <a:rPr lang="en-ZA" kern="0">
                <a:solidFill>
                  <a:srgbClr val="000000"/>
                </a:solidFill>
              </a:rPr>
              <a:pPr defTabSz="903013" hangingPunct="0">
                <a:defRPr/>
              </a:pPr>
              <a:t>2</a:t>
            </a:fld>
            <a:endParaRPr lang="en-ZA" kern="0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58C7B6-AF7D-4D30-9F62-F24DDDDAE63D}"/>
              </a:ext>
            </a:extLst>
          </p:cNvPr>
          <p:cNvCxnSpPr/>
          <p:nvPr/>
        </p:nvCxnSpPr>
        <p:spPr>
          <a:xfrm>
            <a:off x="156339" y="856149"/>
            <a:ext cx="11635801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F980D1A-4D09-4928-BA65-E65EE3FE5C16}"/>
              </a:ext>
            </a:extLst>
          </p:cNvPr>
          <p:cNvSpPr txBox="1">
            <a:spLocks/>
          </p:cNvSpPr>
          <p:nvPr/>
        </p:nvSpPr>
        <p:spPr>
          <a:xfrm>
            <a:off x="76533" y="225544"/>
            <a:ext cx="3605781" cy="431306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34" b="1" dirty="0">
                <a:solidFill>
                  <a:prstClr val="black"/>
                </a:solidFill>
                <a:latin typeface="MTN Brighter Sans" panose="00000500000000000000" pitchFamily="50" charset="0"/>
              </a:rPr>
              <a:t>ACRONYMS</a:t>
            </a:r>
            <a:endParaRPr lang="en-GB" sz="2634" b="1" kern="0" dirty="0">
              <a:solidFill>
                <a:sysClr val="windowText" lastClr="000000"/>
              </a:solidFill>
              <a:latin typeface="MTN Brighter Sans" panose="00000500000000000000" pitchFamily="50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736547"/>
              </p:ext>
            </p:extLst>
          </p:nvPr>
        </p:nvGraphicFramePr>
        <p:xfrm>
          <a:off x="197776" y="1251830"/>
          <a:ext cx="8896797" cy="174732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70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266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8101">
                <a:tc>
                  <a:txBody>
                    <a:bodyPr/>
                    <a:lstStyle/>
                    <a:p>
                      <a:pPr algn="l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Acronym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Description</a:t>
                      </a:r>
                    </a:p>
                  </a:txBody>
                  <a:tcPr marL="72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30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MTN Brighter Sans"/>
                        </a:rPr>
                        <a:t>EWP</a:t>
                      </a:r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MTN Brighter Sans"/>
                          <a:ea typeface="Verdana" pitchFamily="34" charset="0"/>
                          <a:cs typeface="Verdana" pitchFamily="34" charset="0"/>
                        </a:rPr>
                        <a:t>Ericsson</a:t>
                      </a:r>
                      <a:r>
                        <a:rPr lang="en-US" sz="1200" b="0" kern="1200" baseline="0" dirty="0">
                          <a:solidFill>
                            <a:schemeClr val="tx1"/>
                          </a:solidFill>
                          <a:latin typeface="MTN Brighter Sans"/>
                          <a:ea typeface="Verdana" pitchFamily="34" charset="0"/>
                          <a:cs typeface="Verdana" pitchFamily="34" charset="0"/>
                        </a:rPr>
                        <a:t> Wallet Platform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MTN Brighter Sans"/>
                      </a:endParaRPr>
                    </a:p>
                  </a:txBody>
                  <a:tcPr marL="7200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30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MTN Brighter Sans"/>
                        </a:rPr>
                        <a:t>CS</a:t>
                      </a:r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MTN Brighter Sans"/>
                        </a:rPr>
                        <a:t>Charging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MTN Brighter Sans"/>
                        </a:rPr>
                        <a:t> System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MTN Brighter Sans"/>
                      </a:endParaRPr>
                    </a:p>
                  </a:txBody>
                  <a:tcPr marL="7200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3075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MTN Brighter Sans"/>
                        </a:rPr>
                        <a:t>CLM</a:t>
                      </a:r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MTN Brighter Sans"/>
                        </a:rPr>
                        <a:t>Customer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MTN Brighter Sans"/>
                        </a:rPr>
                        <a:t> Lifecycle Management system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MTN Brighter Sans"/>
                      </a:endParaRPr>
                    </a:p>
                  </a:txBody>
                  <a:tcPr marL="72000" marR="144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3493919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82D315-B8B1-EE4B-9E97-D93114A4A7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AD6EC6A-AA26-4B40-A133-5B6F3D0A83C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defTabSz="903013" hangingPunct="0">
              <a:defRPr/>
            </a:pPr>
            <a:fld id="{86CB4B4D-7CA3-9044-876B-883B54F8677D}" type="slidenum">
              <a:rPr lang="en-ZA" kern="0">
                <a:solidFill>
                  <a:srgbClr val="000000"/>
                </a:solidFill>
              </a:rPr>
              <a:pPr defTabSz="903013" hangingPunct="0">
                <a:defRPr/>
              </a:pPr>
              <a:t>3</a:t>
            </a:fld>
            <a:endParaRPr lang="en-ZA" kern="0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58C7B6-AF7D-4D30-9F62-F24DDDDAE63D}"/>
              </a:ext>
            </a:extLst>
          </p:cNvPr>
          <p:cNvCxnSpPr/>
          <p:nvPr/>
        </p:nvCxnSpPr>
        <p:spPr>
          <a:xfrm>
            <a:off x="156339" y="856149"/>
            <a:ext cx="11635801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F980D1A-4D09-4928-BA65-E65EE3FE5C16}"/>
              </a:ext>
            </a:extLst>
          </p:cNvPr>
          <p:cNvSpPr txBox="1">
            <a:spLocks/>
          </p:cNvSpPr>
          <p:nvPr/>
        </p:nvSpPr>
        <p:spPr>
          <a:xfrm>
            <a:off x="76533" y="225544"/>
            <a:ext cx="3605781" cy="431306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34" b="1" dirty="0">
                <a:solidFill>
                  <a:prstClr val="black"/>
                </a:solidFill>
                <a:latin typeface="MTN Brighter Sans" panose="00000500000000000000" pitchFamily="50" charset="0"/>
              </a:rPr>
              <a:t>USECASE LIST</a:t>
            </a:r>
            <a:endParaRPr lang="en-GB" sz="2634" b="1" kern="0" dirty="0">
              <a:solidFill>
                <a:sysClr val="windowText" lastClr="000000"/>
              </a:solidFill>
              <a:latin typeface="MTN Brighter Sans" panose="00000500000000000000" pitchFamily="50" charset="0"/>
            </a:endParaRP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FCB8A67A-C1A9-4EDA-B7F3-94328EDD0D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6304293"/>
              </p:ext>
            </p:extLst>
          </p:nvPr>
        </p:nvGraphicFramePr>
        <p:xfrm>
          <a:off x="527935" y="1397408"/>
          <a:ext cx="11404599" cy="1615440"/>
        </p:xfrm>
        <a:graphic>
          <a:graphicData uri="http://schemas.openxmlformats.org/drawingml/2006/table">
            <a:tbl>
              <a:tblPr firstRow="1" bandRow="1"/>
              <a:tblGrid>
                <a:gridCol w="826603">
                  <a:extLst>
                    <a:ext uri="{9D8B030D-6E8A-4147-A177-3AD203B41FA5}">
                      <a16:colId xmlns:a16="http://schemas.microsoft.com/office/drawing/2014/main" val="2171121344"/>
                    </a:ext>
                  </a:extLst>
                </a:gridCol>
                <a:gridCol w="3279246">
                  <a:extLst>
                    <a:ext uri="{9D8B030D-6E8A-4147-A177-3AD203B41FA5}">
                      <a16:colId xmlns:a16="http://schemas.microsoft.com/office/drawing/2014/main" val="1113241885"/>
                    </a:ext>
                  </a:extLst>
                </a:gridCol>
                <a:gridCol w="3361038">
                  <a:extLst>
                    <a:ext uri="{9D8B030D-6E8A-4147-A177-3AD203B41FA5}">
                      <a16:colId xmlns:a16="http://schemas.microsoft.com/office/drawing/2014/main" val="3667151653"/>
                    </a:ext>
                  </a:extLst>
                </a:gridCol>
                <a:gridCol w="1075037">
                  <a:extLst>
                    <a:ext uri="{9D8B030D-6E8A-4147-A177-3AD203B41FA5}">
                      <a16:colId xmlns:a16="http://schemas.microsoft.com/office/drawing/2014/main" val="405720468"/>
                    </a:ext>
                  </a:extLst>
                </a:gridCol>
                <a:gridCol w="2862675">
                  <a:extLst>
                    <a:ext uri="{9D8B030D-6E8A-4147-A177-3AD203B41FA5}">
                      <a16:colId xmlns:a16="http://schemas.microsoft.com/office/drawing/2014/main" val="4263576660"/>
                    </a:ext>
                  </a:extLst>
                </a:gridCol>
              </a:tblGrid>
              <a:tr h="4805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Use Case ID </a:t>
                      </a:r>
                      <a:endParaRPr lang="en-US" sz="1600" dirty="0">
                        <a:solidFill>
                          <a:schemeClr val="tx1"/>
                        </a:solidFill>
                        <a:latin typeface="MTN Brighter Sans" panose="00000500000000000000" pitchFamily="50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mpd="sng">
                      <a:solidFill>
                        <a:srgbClr val="FFCB0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Use</a:t>
                      </a:r>
                      <a:r>
                        <a:rPr lang="en-US" sz="1600" baseline="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 Case</a:t>
                      </a:r>
                      <a:endParaRPr lang="en-US" sz="1600" dirty="0">
                        <a:solidFill>
                          <a:schemeClr val="tx1"/>
                        </a:solidFill>
                        <a:latin typeface="MTN Brighter Sans" panose="00000500000000000000" pitchFamily="50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mpd="sng">
                      <a:solidFill>
                        <a:srgbClr val="FFCB0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URS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 Link</a:t>
                      </a:r>
                      <a:endParaRPr lang="en-US" sz="1600" dirty="0">
                        <a:solidFill>
                          <a:schemeClr val="tx1"/>
                        </a:solidFill>
                        <a:latin typeface="MTN Brighter Sans" panose="00000500000000000000" pitchFamily="50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ap="flat" cmpd="sng" algn="ctr">
                      <a:solidFill>
                        <a:srgbClr val="FFCB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SD Ref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mpd="sng">
                      <a:solidFill>
                        <a:srgbClr val="FFCB0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Impacted Systems</a:t>
                      </a:r>
                      <a:endParaRPr lang="en-US" sz="1600" dirty="0">
                        <a:solidFill>
                          <a:schemeClr val="tx1"/>
                        </a:solidFill>
                        <a:latin typeface="MTN Brighter Sans" panose="00000500000000000000" pitchFamily="50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mpd="sng">
                      <a:solidFill>
                        <a:srgbClr val="FFCB0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197234"/>
                  </a:ext>
                </a:extLst>
              </a:tr>
              <a:tr h="4023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ap="flat" cmpd="sng" algn="ctr">
                      <a:solidFill>
                        <a:srgbClr val="FFCB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0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Restrict Swap based on </a:t>
                      </a:r>
                      <a:r>
                        <a:rPr lang="en-US" sz="1400" dirty="0" err="1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MoMo</a:t>
                      </a:r>
                      <a:r>
                        <a:rPr lang="en-US" sz="14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 wallet balance</a:t>
                      </a: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ap="flat" cmpd="sng" algn="ctr">
                      <a:solidFill>
                        <a:srgbClr val="FFCB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0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https://mtnnigeria.atlassian.net/browse/FT-19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ap="flat" cmpd="sng" algn="ctr">
                      <a:solidFill>
                        <a:srgbClr val="FFCB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0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SD 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ap="flat" cmpd="sng" algn="ctr">
                      <a:solidFill>
                        <a:srgbClr val="FFCB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0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dirty="0" err="1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Biosmart</a:t>
                      </a:r>
                      <a:r>
                        <a:rPr lang="en-US" sz="14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,</a:t>
                      </a:r>
                      <a:r>
                        <a:rPr lang="en-US" sz="1400" baseline="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 CLM, EWP, ESF</a:t>
                      </a:r>
                      <a:endParaRPr lang="en-US" sz="1400" dirty="0">
                        <a:latin typeface="MTN Brighter Sans" panose="00000500000000000000" pitchFamily="50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ap="flat" cmpd="sng" algn="ctr">
                      <a:solidFill>
                        <a:srgbClr val="FFCB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05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mpd="sng">
                      <a:solidFill>
                        <a:srgbClr val="FFCB0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0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Restrict Swap based on account balance</a:t>
                      </a: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mpd="sng">
                      <a:solidFill>
                        <a:srgbClr val="FFCB0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0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https://mtnnigeria.atlassian.net/browse/FT-237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CB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CB0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0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SD 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mpd="sng">
                      <a:solidFill>
                        <a:srgbClr val="FFCB0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0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Biosmart</a:t>
                      </a:r>
                      <a:r>
                        <a:rPr lang="en-US" sz="140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,</a:t>
                      </a:r>
                      <a:r>
                        <a:rPr lang="en-US" sz="1400" baseline="0" dirty="0">
                          <a:latin typeface="MTN Brighter Sans" panose="00000500000000000000" pitchFamily="50" charset="0"/>
                          <a:ea typeface="Verdana" pitchFamily="34" charset="0"/>
                          <a:cs typeface="Verdana" pitchFamily="34" charset="0"/>
                        </a:rPr>
                        <a:t> CLM, CS, ESF</a:t>
                      </a:r>
                      <a:endParaRPr lang="en-US" sz="1400" dirty="0">
                        <a:latin typeface="MTN Brighter Sans" panose="00000500000000000000" pitchFamily="50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FFCB05"/>
                      </a:solidFill>
                    </a:lnT>
                    <a:lnB w="12700" cmpd="sng">
                      <a:solidFill>
                        <a:srgbClr val="FFCB05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05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8347670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82D315-B8B1-EE4B-9E97-D93114A4A7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AD6EC6A-AA26-4B40-A133-5B6F3D0A83C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defTabSz="903013" hangingPunct="0">
              <a:defRPr/>
            </a:pPr>
            <a:fld id="{86CB4B4D-7CA3-9044-876B-883B54F8677D}" type="slidenum">
              <a:rPr lang="en-ZA" kern="0">
                <a:solidFill>
                  <a:srgbClr val="000000"/>
                </a:solidFill>
              </a:rPr>
              <a:pPr defTabSz="903013" hangingPunct="0">
                <a:defRPr/>
              </a:pPr>
              <a:t>4</a:t>
            </a:fld>
            <a:endParaRPr lang="en-ZA" kern="0" dirty="0">
              <a:solidFill>
                <a:srgbClr val="000000"/>
              </a:solidFill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F980D1A-4D09-4928-BA65-E65EE3FE5C16}"/>
              </a:ext>
            </a:extLst>
          </p:cNvPr>
          <p:cNvSpPr txBox="1">
            <a:spLocks/>
          </p:cNvSpPr>
          <p:nvPr/>
        </p:nvSpPr>
        <p:spPr>
          <a:xfrm>
            <a:off x="1025612" y="1934882"/>
            <a:ext cx="10709188" cy="431306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4400" b="1" dirty="0">
                <a:solidFill>
                  <a:prstClr val="black"/>
                </a:solidFill>
                <a:latin typeface="MTN Brighter Sans" panose="00000500000000000000" pitchFamily="50" charset="0"/>
              </a:rPr>
              <a:t>1. RESTRICT SWAP BASED ON MOMO WALLET BALANCE</a:t>
            </a:r>
            <a:endParaRPr lang="en-GB" sz="4400" b="1" kern="0" dirty="0">
              <a:solidFill>
                <a:sysClr val="windowText" lastClr="000000"/>
              </a:solidFill>
              <a:latin typeface="MTN Brighter San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520961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58C7B6-AF7D-4D30-9F62-F24DDDDAE63D}"/>
              </a:ext>
            </a:extLst>
          </p:cNvPr>
          <p:cNvCxnSpPr/>
          <p:nvPr/>
        </p:nvCxnSpPr>
        <p:spPr>
          <a:xfrm>
            <a:off x="156339" y="856149"/>
            <a:ext cx="11635801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F980D1A-4D09-4928-BA65-E65EE3FE5C16}"/>
              </a:ext>
            </a:extLst>
          </p:cNvPr>
          <p:cNvSpPr txBox="1">
            <a:spLocks/>
          </p:cNvSpPr>
          <p:nvPr/>
        </p:nvSpPr>
        <p:spPr>
          <a:xfrm>
            <a:off x="76532" y="225544"/>
            <a:ext cx="12363561" cy="431306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34" b="1" dirty="0">
                <a:solidFill>
                  <a:prstClr val="black"/>
                </a:solidFill>
                <a:latin typeface="MTN Brighter Sans" panose="00000500000000000000" pitchFamily="50" charset="0"/>
              </a:rPr>
              <a:t>SD 01: Restrict Swap based on </a:t>
            </a:r>
            <a:r>
              <a:rPr lang="en-US" sz="2634" b="1" dirty="0" err="1">
                <a:solidFill>
                  <a:prstClr val="black"/>
                </a:solidFill>
                <a:latin typeface="MTN Brighter Sans" panose="00000500000000000000" pitchFamily="50" charset="0"/>
              </a:rPr>
              <a:t>MoMo</a:t>
            </a:r>
            <a:r>
              <a:rPr lang="en-US" sz="2634" b="1" dirty="0">
                <a:solidFill>
                  <a:prstClr val="black"/>
                </a:solidFill>
                <a:latin typeface="MTN Brighter Sans" panose="00000500000000000000" pitchFamily="50" charset="0"/>
              </a:rPr>
              <a:t> Wallet Balance - </a:t>
            </a:r>
            <a:r>
              <a:rPr lang="en-US" sz="2634" b="1" dirty="0" err="1">
                <a:solidFill>
                  <a:prstClr val="black"/>
                </a:solidFill>
                <a:latin typeface="MTN Brighter Sans" panose="00000500000000000000" pitchFamily="50" charset="0"/>
              </a:rPr>
              <a:t>Biosmart</a:t>
            </a:r>
            <a:endParaRPr lang="en-GB" sz="2634" b="1" kern="0" dirty="0">
              <a:solidFill>
                <a:srgbClr val="FF0000"/>
              </a:solidFill>
              <a:latin typeface="MTN Brighter Sans" panose="00000500000000000000" pitchFamily="50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68199" y="893118"/>
            <a:ext cx="11430001" cy="14407116"/>
            <a:chOff x="568199" y="893118"/>
            <a:chExt cx="11430001" cy="14407116"/>
          </a:xfrm>
        </p:grpSpPr>
        <p:pic>
          <p:nvPicPr>
            <p:cNvPr id="2051" name="Picture 3" descr="C:\Users\EBS\Downloads\Sequence Flow - Restrict Swap based on MoMo Wallet Balance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81" b="4695"/>
            <a:stretch/>
          </p:blipFill>
          <p:spPr bwMode="auto">
            <a:xfrm>
              <a:off x="568199" y="893118"/>
              <a:ext cx="11430001" cy="144071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/>
            <p:cNvSpPr/>
            <p:nvPr/>
          </p:nvSpPr>
          <p:spPr>
            <a:xfrm>
              <a:off x="2626242" y="8187070"/>
              <a:ext cx="9165898" cy="3593804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22029540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82D315-B8B1-EE4B-9E97-D93114A4A7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AD6EC6A-AA26-4B40-A133-5B6F3D0A83C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defTabSz="903013" hangingPunct="0">
              <a:defRPr/>
            </a:pPr>
            <a:fld id="{86CB4B4D-7CA3-9044-876B-883B54F8677D}" type="slidenum">
              <a:rPr lang="en-ZA" kern="0">
                <a:solidFill>
                  <a:srgbClr val="000000"/>
                </a:solidFill>
              </a:rPr>
              <a:pPr defTabSz="903013" hangingPunct="0">
                <a:defRPr/>
              </a:pPr>
              <a:t>6</a:t>
            </a:fld>
            <a:endParaRPr lang="en-ZA" kern="0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58C7B6-AF7D-4D30-9F62-F24DDDDAE63D}"/>
              </a:ext>
            </a:extLst>
          </p:cNvPr>
          <p:cNvCxnSpPr/>
          <p:nvPr/>
        </p:nvCxnSpPr>
        <p:spPr>
          <a:xfrm>
            <a:off x="156339" y="856149"/>
            <a:ext cx="11635801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F980D1A-4D09-4928-BA65-E65EE3FE5C16}"/>
              </a:ext>
            </a:extLst>
          </p:cNvPr>
          <p:cNvSpPr txBox="1">
            <a:spLocks/>
          </p:cNvSpPr>
          <p:nvPr/>
        </p:nvSpPr>
        <p:spPr>
          <a:xfrm>
            <a:off x="76533" y="225544"/>
            <a:ext cx="12115467" cy="431306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34" b="1" dirty="0">
                <a:solidFill>
                  <a:prstClr val="black"/>
                </a:solidFill>
                <a:latin typeface="MTN Brighter Sans" panose="00000500000000000000" pitchFamily="50" charset="0"/>
              </a:rPr>
              <a:t>Work Package – Restrict Swap based on </a:t>
            </a:r>
            <a:r>
              <a:rPr lang="en-US" sz="2634" b="1" dirty="0" err="1">
                <a:solidFill>
                  <a:prstClr val="black"/>
                </a:solidFill>
                <a:latin typeface="MTN Brighter Sans" panose="00000500000000000000" pitchFamily="50" charset="0"/>
              </a:rPr>
              <a:t>MoMo</a:t>
            </a:r>
            <a:r>
              <a:rPr lang="en-US" sz="2634" b="1" dirty="0">
                <a:solidFill>
                  <a:prstClr val="black"/>
                </a:solidFill>
                <a:latin typeface="MTN Brighter Sans" panose="00000500000000000000" pitchFamily="50" charset="0"/>
              </a:rPr>
              <a:t> wallet balance</a:t>
            </a:r>
            <a:endParaRPr lang="en-GB" sz="2634" b="1" kern="0" dirty="0">
              <a:solidFill>
                <a:sysClr val="windowText" lastClr="000000"/>
              </a:solidFill>
              <a:latin typeface="MTN Brighter Sans" panose="00000500000000000000" pitchFamily="50" charset="0"/>
            </a:endParaRP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D8E5185F-EDE8-4222-8C37-45C41B0D37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5698566"/>
              </p:ext>
            </p:extLst>
          </p:nvPr>
        </p:nvGraphicFramePr>
        <p:xfrm>
          <a:off x="197142" y="981910"/>
          <a:ext cx="11594998" cy="5166130"/>
        </p:xfrm>
        <a:graphic>
          <a:graphicData uri="http://schemas.openxmlformats.org/drawingml/2006/table">
            <a:tbl>
              <a:tblPr firstRow="1" firstCol="1" bandRow="1">
                <a:solidFill>
                  <a:schemeClr val="bg1"/>
                </a:solidFill>
              </a:tblPr>
              <a:tblGrid>
                <a:gridCol w="2612067">
                  <a:extLst>
                    <a:ext uri="{9D8B030D-6E8A-4147-A177-3AD203B41FA5}">
                      <a16:colId xmlns:a16="http://schemas.microsoft.com/office/drawing/2014/main" val="410037100"/>
                    </a:ext>
                  </a:extLst>
                </a:gridCol>
                <a:gridCol w="2612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85432">
                  <a:extLst>
                    <a:ext uri="{9D8B030D-6E8A-4147-A177-3AD203B41FA5}">
                      <a16:colId xmlns:a16="http://schemas.microsoft.com/office/drawing/2014/main" val="2939449901"/>
                    </a:ext>
                  </a:extLst>
                </a:gridCol>
                <a:gridCol w="31854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27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err="1">
                          <a:solidFill>
                            <a:schemeClr val="bg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Biosmart</a:t>
                      </a:r>
                      <a:endParaRPr lang="en-US" sz="1200" b="1" kern="1200" dirty="0">
                        <a:solidFill>
                          <a:schemeClr val="bg1"/>
                        </a:solidFill>
                        <a:effectLst/>
                        <a:latin typeface="MTN Brighter Sans" panose="00000500000000000000" pitchFamily="50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CL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EWP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ES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30963">
                <a:tc>
                  <a:txBody>
                    <a:bodyPr/>
                    <a:lstStyle/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Add business rule to validate line’s </a:t>
                      </a:r>
                      <a:r>
                        <a:rPr lang="en-US" sz="1200" b="0" kern="1200" baseline="0" dirty="0" err="1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MoMo</a:t>
                      </a: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 wallet balance during SIM Swap</a:t>
                      </a:r>
                    </a:p>
                    <a:p>
                      <a:pPr marL="457200" marR="0" lvl="1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1200" b="0" kern="1200" baseline="0" dirty="0">
                        <a:solidFill>
                          <a:schemeClr val="dk1"/>
                        </a:solidFill>
                        <a:effectLst/>
                        <a:latin typeface="MTN Brighter Sans" panose="00000500000000000000" pitchFamily="50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Add business rule to validate line’s </a:t>
                      </a:r>
                      <a:r>
                        <a:rPr lang="en-US" sz="1200" b="0" kern="1200" baseline="0" dirty="0" err="1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MoMo</a:t>
                      </a: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 wallet balance during SIM Swap</a:t>
                      </a:r>
                    </a:p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Add like an icon /flag on </a:t>
                      </a:r>
                      <a:r>
                        <a:rPr lang="en-US" sz="1200" b="0" kern="1200" baseline="0" dirty="0" err="1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clm</a:t>
                      </a: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baseline="0" dirty="0" err="1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ui</a:t>
                      </a: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 indicating that line(</a:t>
                      </a:r>
                      <a:r>
                        <a:rPr lang="en-US" sz="1200" b="0" kern="1200" baseline="0" dirty="0" err="1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msisdn</a:t>
                      </a: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) has a </a:t>
                      </a:r>
                      <a:r>
                        <a:rPr lang="en-US" sz="1200" b="0" kern="1200" baseline="0" dirty="0" err="1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momo</a:t>
                      </a: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 wallet account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Expose API to check if line has </a:t>
                      </a:r>
                      <a:r>
                        <a:rPr lang="en-US" sz="1200" b="0" kern="1200" baseline="0" dirty="0" err="1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MoMo</a:t>
                      </a: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 account</a:t>
                      </a:r>
                    </a:p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Expose API to query </a:t>
                      </a:r>
                      <a:r>
                        <a:rPr lang="en-US" sz="1200" b="0" kern="1200" baseline="0" dirty="0" err="1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MoMo</a:t>
                      </a: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 wallet balanc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Wrap </a:t>
                      </a:r>
                      <a:r>
                        <a:rPr lang="en-US" sz="1200" b="0" kern="1200" baseline="0" dirty="0" err="1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MoMo</a:t>
                      </a: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 account check API</a:t>
                      </a:r>
                    </a:p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Wrap Query </a:t>
                      </a:r>
                      <a:r>
                        <a:rPr lang="en-US" sz="1200" b="0" kern="1200" baseline="0" dirty="0" err="1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MoMo</a:t>
                      </a: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 wallet balance API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96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1154929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82D315-B8B1-EE4B-9E97-D93114A4A7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AD6EC6A-AA26-4B40-A133-5B6F3D0A83C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defTabSz="903013" hangingPunct="0">
              <a:defRPr/>
            </a:pPr>
            <a:fld id="{86CB4B4D-7CA3-9044-876B-883B54F8677D}" type="slidenum">
              <a:rPr lang="en-ZA" kern="0">
                <a:solidFill>
                  <a:srgbClr val="000000"/>
                </a:solidFill>
              </a:rPr>
              <a:pPr defTabSz="903013" hangingPunct="0">
                <a:defRPr/>
              </a:pPr>
              <a:t>7</a:t>
            </a:fld>
            <a:endParaRPr lang="en-ZA" kern="0" dirty="0">
              <a:solidFill>
                <a:srgbClr val="000000"/>
              </a:solidFill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F980D1A-4D09-4928-BA65-E65EE3FE5C16}"/>
              </a:ext>
            </a:extLst>
          </p:cNvPr>
          <p:cNvSpPr txBox="1">
            <a:spLocks/>
          </p:cNvSpPr>
          <p:nvPr/>
        </p:nvSpPr>
        <p:spPr>
          <a:xfrm>
            <a:off x="1025612" y="1934882"/>
            <a:ext cx="10709188" cy="431306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4400" b="1" dirty="0">
                <a:solidFill>
                  <a:prstClr val="black"/>
                </a:solidFill>
                <a:latin typeface="MTN Brighter Sans" panose="00000500000000000000" pitchFamily="50" charset="0"/>
              </a:rPr>
              <a:t>2. RESTRICT SWAP BASED ON ACCOUNT BALANCE</a:t>
            </a:r>
            <a:endParaRPr lang="en-GB" sz="4400" b="1" kern="0" dirty="0">
              <a:solidFill>
                <a:sysClr val="windowText" lastClr="000000"/>
              </a:solidFill>
              <a:latin typeface="MTN Brighter San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8368248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58C7B6-AF7D-4D30-9F62-F24DDDDAE63D}"/>
              </a:ext>
            </a:extLst>
          </p:cNvPr>
          <p:cNvCxnSpPr/>
          <p:nvPr/>
        </p:nvCxnSpPr>
        <p:spPr>
          <a:xfrm>
            <a:off x="156339" y="856149"/>
            <a:ext cx="11635801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F980D1A-4D09-4928-BA65-E65EE3FE5C16}"/>
              </a:ext>
            </a:extLst>
          </p:cNvPr>
          <p:cNvSpPr txBox="1">
            <a:spLocks/>
          </p:cNvSpPr>
          <p:nvPr/>
        </p:nvSpPr>
        <p:spPr>
          <a:xfrm>
            <a:off x="76532" y="225544"/>
            <a:ext cx="12099523" cy="431306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34" b="1" dirty="0">
                <a:solidFill>
                  <a:prstClr val="black"/>
                </a:solidFill>
                <a:latin typeface="MTN Brighter Sans" panose="00000500000000000000" pitchFamily="50" charset="0"/>
              </a:rPr>
              <a:t>SD 02: Restrict Swap based on Account Balance - </a:t>
            </a:r>
            <a:r>
              <a:rPr lang="en-US" sz="2634" b="1" dirty="0" err="1">
                <a:solidFill>
                  <a:prstClr val="black"/>
                </a:solidFill>
                <a:latin typeface="MTN Brighter Sans" panose="00000500000000000000" pitchFamily="50" charset="0"/>
              </a:rPr>
              <a:t>Biosmart</a:t>
            </a:r>
            <a:endParaRPr lang="en-GB" sz="2634" b="1" kern="0" dirty="0">
              <a:solidFill>
                <a:srgbClr val="FF0000"/>
              </a:solidFill>
              <a:latin typeface="MTN Brighter Sans" panose="00000500000000000000" pitchFamily="50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82862" y="893118"/>
            <a:ext cx="11430001" cy="12790966"/>
            <a:chOff x="182862" y="893118"/>
            <a:chExt cx="11430001" cy="12790966"/>
          </a:xfrm>
        </p:grpSpPr>
        <p:pic>
          <p:nvPicPr>
            <p:cNvPr id="3074" name="Picture 2" descr="C:\Users\EBS\Downloads\Sequence Flow - Restrict Swap based on Account Balance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52" b="5321"/>
            <a:stretch/>
          </p:blipFill>
          <p:spPr bwMode="auto">
            <a:xfrm>
              <a:off x="182862" y="893118"/>
              <a:ext cx="11430001" cy="127909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2626242" y="8187070"/>
              <a:ext cx="8910084" cy="2009553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71467034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82D315-B8B1-EE4B-9E97-D93114A4A7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AD6EC6A-AA26-4B40-A133-5B6F3D0A83C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defTabSz="903013" hangingPunct="0">
              <a:defRPr/>
            </a:pPr>
            <a:fld id="{86CB4B4D-7CA3-9044-876B-883B54F8677D}" type="slidenum">
              <a:rPr lang="en-ZA" kern="0">
                <a:solidFill>
                  <a:srgbClr val="000000"/>
                </a:solidFill>
              </a:rPr>
              <a:pPr defTabSz="903013" hangingPunct="0">
                <a:defRPr/>
              </a:pPr>
              <a:t>9</a:t>
            </a:fld>
            <a:endParaRPr lang="en-ZA" kern="0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58C7B6-AF7D-4D30-9F62-F24DDDDAE63D}"/>
              </a:ext>
            </a:extLst>
          </p:cNvPr>
          <p:cNvCxnSpPr/>
          <p:nvPr/>
        </p:nvCxnSpPr>
        <p:spPr>
          <a:xfrm>
            <a:off x="156339" y="856149"/>
            <a:ext cx="11635801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F980D1A-4D09-4928-BA65-E65EE3FE5C16}"/>
              </a:ext>
            </a:extLst>
          </p:cNvPr>
          <p:cNvSpPr txBox="1">
            <a:spLocks/>
          </p:cNvSpPr>
          <p:nvPr/>
        </p:nvSpPr>
        <p:spPr>
          <a:xfrm>
            <a:off x="76533" y="225544"/>
            <a:ext cx="11715607" cy="431306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34" b="1" dirty="0">
                <a:solidFill>
                  <a:prstClr val="black"/>
                </a:solidFill>
                <a:latin typeface="MTN Brighter Sans" panose="00000500000000000000" pitchFamily="50" charset="0"/>
              </a:rPr>
              <a:t>Work Package – Restrict Swap based on Account Balance</a:t>
            </a:r>
            <a:endParaRPr lang="en-GB" sz="2634" b="1" kern="0" dirty="0">
              <a:solidFill>
                <a:sysClr val="windowText" lastClr="000000"/>
              </a:solidFill>
              <a:latin typeface="MTN Brighter Sans" panose="00000500000000000000" pitchFamily="50" charset="0"/>
            </a:endParaRP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D8E5185F-EDE8-4222-8C37-45C41B0D37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7206055"/>
              </p:ext>
            </p:extLst>
          </p:nvPr>
        </p:nvGraphicFramePr>
        <p:xfrm>
          <a:off x="197142" y="981910"/>
          <a:ext cx="11594998" cy="5166130"/>
        </p:xfrm>
        <a:graphic>
          <a:graphicData uri="http://schemas.openxmlformats.org/drawingml/2006/table">
            <a:tbl>
              <a:tblPr firstRow="1" firstCol="1" bandRow="1">
                <a:solidFill>
                  <a:schemeClr val="bg1"/>
                </a:solidFill>
              </a:tblPr>
              <a:tblGrid>
                <a:gridCol w="2612067">
                  <a:extLst>
                    <a:ext uri="{9D8B030D-6E8A-4147-A177-3AD203B41FA5}">
                      <a16:colId xmlns:a16="http://schemas.microsoft.com/office/drawing/2014/main" val="410037100"/>
                    </a:ext>
                  </a:extLst>
                </a:gridCol>
                <a:gridCol w="2612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85432">
                  <a:extLst>
                    <a:ext uri="{9D8B030D-6E8A-4147-A177-3AD203B41FA5}">
                      <a16:colId xmlns:a16="http://schemas.microsoft.com/office/drawing/2014/main" val="2939449901"/>
                    </a:ext>
                  </a:extLst>
                </a:gridCol>
                <a:gridCol w="31854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27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err="1">
                          <a:solidFill>
                            <a:schemeClr val="bg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Biosmart</a:t>
                      </a:r>
                      <a:endParaRPr lang="en-US" sz="1200" b="1" kern="1200" dirty="0">
                        <a:solidFill>
                          <a:schemeClr val="bg1"/>
                        </a:solidFill>
                        <a:effectLst/>
                        <a:latin typeface="MTN Brighter Sans" panose="00000500000000000000" pitchFamily="50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CL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C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ES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30963">
                <a:tc>
                  <a:txBody>
                    <a:bodyPr/>
                    <a:lstStyle/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Add business rule to validate line’s main account (MA) balance during SIM Swap</a:t>
                      </a:r>
                    </a:p>
                    <a:p>
                      <a:pPr marL="457200" marR="0" lvl="1" indent="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1200" b="0" kern="1200" baseline="0" dirty="0">
                        <a:solidFill>
                          <a:schemeClr val="dk1"/>
                        </a:solidFill>
                        <a:effectLst/>
                        <a:latin typeface="MTN Brighter Sans" panose="00000500000000000000" pitchFamily="50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Add business rule to validate line’s main account (MA) balance during SIM Swap</a:t>
                      </a:r>
                    </a:p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en-US" sz="1200" b="0" kern="1200" baseline="0" dirty="0">
                        <a:solidFill>
                          <a:schemeClr val="dk1"/>
                        </a:solidFill>
                        <a:effectLst/>
                        <a:latin typeface="MTN Brighter Sans" panose="00000500000000000000" pitchFamily="50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Expose API to query line’s main account (MA) balanc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200" b="0" kern="1200" baseline="0" dirty="0">
                          <a:solidFill>
                            <a:schemeClr val="dk1"/>
                          </a:solidFill>
                          <a:effectLst/>
                          <a:latin typeface="MTN Brighter Sans" panose="00000500000000000000" pitchFamily="50" charset="0"/>
                          <a:ea typeface="+mn-ea"/>
                          <a:cs typeface="+mn-cs"/>
                        </a:rPr>
                        <a:t>Wrap Query Main Account (MA) Balance API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96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15504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les">
  <a:themeElements>
    <a:clrScheme name="MTN">
      <a:dk1>
        <a:sysClr val="windowText" lastClr="000000"/>
      </a:dk1>
      <a:lt1>
        <a:srgbClr val="FFFFFF"/>
      </a:lt1>
      <a:dk2>
        <a:srgbClr val="323232"/>
      </a:dk2>
      <a:lt2>
        <a:srgbClr val="FFFFFF"/>
      </a:lt2>
      <a:accent1>
        <a:srgbClr val="FFCB05"/>
      </a:accent1>
      <a:accent2>
        <a:srgbClr val="F5821E"/>
      </a:accent2>
      <a:accent3>
        <a:srgbClr val="E12D6E"/>
      </a:accent3>
      <a:accent4>
        <a:srgbClr val="5A1E5A"/>
      </a:accent4>
      <a:accent5>
        <a:srgbClr val="0F6987"/>
      </a:accent5>
      <a:accent6>
        <a:srgbClr val="0FAF4B"/>
      </a:accent6>
      <a:hlink>
        <a:srgbClr val="323232"/>
      </a:hlink>
      <a:folHlink>
        <a:srgbClr val="7F7F7F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_PPT Template_20171219.potx" id="{7522311C-6251-44DA-95D9-A34EC3E34410}" vid="{4E5A535F-293B-4DB4-B762-A97D1338BA88}"/>
    </a:ext>
  </a:extLst>
</a:theme>
</file>

<file path=ppt/theme/theme3.xml><?xml version="1.0" encoding="utf-8"?>
<a:theme xmlns:a="http://schemas.openxmlformats.org/drawingml/2006/main" name="Top arch">
  <a:themeElements>
    <a:clrScheme name="MTN">
      <a:dk1>
        <a:sysClr val="windowText" lastClr="000000"/>
      </a:dk1>
      <a:lt1>
        <a:srgbClr val="FFFFFF"/>
      </a:lt1>
      <a:dk2>
        <a:srgbClr val="323232"/>
      </a:dk2>
      <a:lt2>
        <a:srgbClr val="FFFFFF"/>
      </a:lt2>
      <a:accent1>
        <a:srgbClr val="FFCB05"/>
      </a:accent1>
      <a:accent2>
        <a:srgbClr val="F5821E"/>
      </a:accent2>
      <a:accent3>
        <a:srgbClr val="E12D6E"/>
      </a:accent3>
      <a:accent4>
        <a:srgbClr val="5A1E5A"/>
      </a:accent4>
      <a:accent5>
        <a:srgbClr val="0F6987"/>
      </a:accent5>
      <a:accent6>
        <a:srgbClr val="0FAF4B"/>
      </a:accent6>
      <a:hlink>
        <a:srgbClr val="323232"/>
      </a:hlink>
      <a:folHlink>
        <a:srgbClr val="7F7F7F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TN_PPT Template_20171219.potx" id="{7522311C-6251-44DA-95D9-A34EC3E34410}" vid="{908E2106-84C8-485A-9936-61B2F3F3177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2C7EDC58906241804F13A98E8E6326" ma:contentTypeVersion="13" ma:contentTypeDescription="Create a new document." ma:contentTypeScope="" ma:versionID="e8ce7123c74641c6edca8346f339a8b4">
  <xsd:schema xmlns:xsd="http://www.w3.org/2001/XMLSchema" xmlns:xs="http://www.w3.org/2001/XMLSchema" xmlns:p="http://schemas.microsoft.com/office/2006/metadata/properties" xmlns:ns3="f4672e32-76fb-4a20-93f3-50ef001b592b" xmlns:ns4="9f27382f-b316-48cc-b51f-754cdb3e147b" targetNamespace="http://schemas.microsoft.com/office/2006/metadata/properties" ma:root="true" ma:fieldsID="2f8869937edbd5fc10ebb8245c0deb76" ns3:_="" ns4:_="">
    <xsd:import namespace="f4672e32-76fb-4a20-93f3-50ef001b592b"/>
    <xsd:import namespace="9f27382f-b316-48cc-b51f-754cdb3e147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672e32-76fb-4a20-93f3-50ef001b59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27382f-b316-48cc-b51f-754cdb3e147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C82B0BA-90A6-4D7E-BFF1-A052BA7E9D77}">
  <ds:schemaRefs>
    <ds:schemaRef ds:uri="http://purl.org/dc/elements/1.1/"/>
    <ds:schemaRef ds:uri="http://schemas.openxmlformats.org/package/2006/metadata/core-properties"/>
    <ds:schemaRef ds:uri="f4672e32-76fb-4a20-93f3-50ef001b592b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9f27382f-b316-48cc-b51f-754cdb3e147b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D9756B8-76D7-46DA-AEF5-D53831F2FFCF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f4672e32-76fb-4a20-93f3-50ef001b592b"/>
    <ds:schemaRef ds:uri="9f27382f-b316-48cc-b51f-754cdb3e147b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00C6618-EF87-4117-BF01-8AAB303119F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763</TotalTime>
  <Words>287</Words>
  <Application>Microsoft Office PowerPoint</Application>
  <PresentationFormat>Widescreen</PresentationFormat>
  <Paragraphs>62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3" baseType="lpstr">
      <vt:lpstr>Arial</vt:lpstr>
      <vt:lpstr>Calibri</vt:lpstr>
      <vt:lpstr>Calibri Light</vt:lpstr>
      <vt:lpstr>Century Gothic</vt:lpstr>
      <vt:lpstr>MTN Brighter Sans</vt:lpstr>
      <vt:lpstr>MTN Brighter Sans Bold</vt:lpstr>
      <vt:lpstr>MTN Brighter Sans ExtraBold</vt:lpstr>
      <vt:lpstr>MTN Brighter Sans Light</vt:lpstr>
      <vt:lpstr>Myriad Pro</vt:lpstr>
      <vt:lpstr>Office Theme</vt:lpstr>
      <vt:lpstr>Titles</vt:lpstr>
      <vt:lpstr>Top arch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ubunmi Idowu [ MTN Nigeria ]</dc:creator>
  <cp:lastModifiedBy>Adebimpe Oladipo [ MTN Nigeria - IT ]</cp:lastModifiedBy>
  <cp:revision>1331</cp:revision>
  <dcterms:created xsi:type="dcterms:W3CDTF">2022-04-13T21:59:49Z</dcterms:created>
  <dcterms:modified xsi:type="dcterms:W3CDTF">2023-03-09T11:5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2C7EDC58906241804F13A98E8E6326</vt:lpwstr>
  </property>
</Properties>
</file>